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810" r:id="rId3"/>
    <p:sldMasterId id="2147483821" r:id="rId4"/>
  </p:sldMasterIdLst>
  <p:notesMasterIdLst>
    <p:notesMasterId r:id="rId38"/>
  </p:notesMasterIdLst>
  <p:sldIdLst>
    <p:sldId id="2416" r:id="rId5"/>
    <p:sldId id="2417" r:id="rId6"/>
    <p:sldId id="4613" r:id="rId7"/>
    <p:sldId id="4615" r:id="rId8"/>
    <p:sldId id="4616" r:id="rId9"/>
    <p:sldId id="4617" r:id="rId10"/>
    <p:sldId id="4618" r:id="rId11"/>
    <p:sldId id="1367" r:id="rId12"/>
    <p:sldId id="1369" r:id="rId13"/>
    <p:sldId id="1370" r:id="rId14"/>
    <p:sldId id="1372" r:id="rId15"/>
    <p:sldId id="1373" r:id="rId16"/>
    <p:sldId id="1375" r:id="rId17"/>
    <p:sldId id="1376" r:id="rId18"/>
    <p:sldId id="1378" r:id="rId19"/>
    <p:sldId id="1379" r:id="rId20"/>
    <p:sldId id="1381" r:id="rId21"/>
    <p:sldId id="1382" r:id="rId22"/>
    <p:sldId id="1384" r:id="rId23"/>
    <p:sldId id="1385" r:id="rId24"/>
    <p:sldId id="1387" r:id="rId25"/>
    <p:sldId id="1388" r:id="rId26"/>
    <p:sldId id="1390" r:id="rId27"/>
    <p:sldId id="1391" r:id="rId28"/>
    <p:sldId id="1393" r:id="rId29"/>
    <p:sldId id="1394" r:id="rId30"/>
    <p:sldId id="1396" r:id="rId31"/>
    <p:sldId id="4544" r:id="rId32"/>
    <p:sldId id="4545" r:id="rId33"/>
    <p:sldId id="1400" r:id="rId34"/>
    <p:sldId id="1402" r:id="rId35"/>
    <p:sldId id="1403" r:id="rId36"/>
    <p:sldId id="1405" r:id="rId37"/>
  </p:sldIdLst>
  <p:sldSz cx="12192000" cy="6858000"/>
  <p:notesSz cx="6858000" cy="9144000"/>
  <p:custDataLst>
    <p:tags r:id="rId39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3333CC"/>
    <a:srgbClr val="00FF00"/>
    <a:srgbClr val="D31145"/>
    <a:srgbClr val="FF33CC"/>
    <a:srgbClr val="00B050"/>
    <a:srgbClr val="800000"/>
    <a:srgbClr val="EAEFF7"/>
    <a:srgbClr val="4472C4"/>
    <a:srgbClr val="76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18" autoAdjust="0"/>
    <p:restoredTop sz="95297" autoAdjust="0"/>
  </p:normalViewPr>
  <p:slideViewPr>
    <p:cSldViewPr snapToGrid="0">
      <p:cViewPr varScale="1">
        <p:scale>
          <a:sx n="104" d="100"/>
          <a:sy n="104" d="100"/>
        </p:scale>
        <p:origin x="444" y="102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gs" Target="tags/tag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02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B$2:$B$102</c:f>
              <c:numCache>
                <c:formatCode>0</c:formatCode>
                <c:ptCount val="101"/>
                <c:pt idx="0">
                  <c:v>828</c:v>
                </c:pt>
                <c:pt idx="1">
                  <c:v>552</c:v>
                </c:pt>
                <c:pt idx="2">
                  <c:v>318</c:v>
                </c:pt>
                <c:pt idx="3">
                  <c:v>807</c:v>
                </c:pt>
                <c:pt idx="4">
                  <c:v>1114</c:v>
                </c:pt>
                <c:pt idx="5">
                  <c:v>1048</c:v>
                </c:pt>
                <c:pt idx="6">
                  <c:v>992</c:v>
                </c:pt>
                <c:pt idx="7">
                  <c:v>1018</c:v>
                </c:pt>
                <c:pt idx="8">
                  <c:v>667</c:v>
                </c:pt>
                <c:pt idx="9">
                  <c:v>336</c:v>
                </c:pt>
                <c:pt idx="10">
                  <c:v>1344</c:v>
                </c:pt>
                <c:pt idx="11">
                  <c:v>1507</c:v>
                </c:pt>
                <c:pt idx="12">
                  <c:v>1499</c:v>
                </c:pt>
                <c:pt idx="13">
                  <c:v>1539</c:v>
                </c:pt>
                <c:pt idx="14">
                  <c:v>1782</c:v>
                </c:pt>
                <c:pt idx="15">
                  <c:v>1158</c:v>
                </c:pt>
                <c:pt idx="16">
                  <c:v>795</c:v>
                </c:pt>
                <c:pt idx="17">
                  <c:v>2536</c:v>
                </c:pt>
                <c:pt idx="18">
                  <c:v>3249</c:v>
                </c:pt>
                <c:pt idx="19">
                  <c:v>3279</c:v>
                </c:pt>
                <c:pt idx="20">
                  <c:v>3644</c:v>
                </c:pt>
                <c:pt idx="21">
                  <c:v>4239</c:v>
                </c:pt>
                <c:pt idx="22">
                  <c:v>2756</c:v>
                </c:pt>
                <c:pt idx="23">
                  <c:v>1838</c:v>
                </c:pt>
                <c:pt idx="24">
                  <c:v>4286</c:v>
                </c:pt>
                <c:pt idx="25">
                  <c:v>6289</c:v>
                </c:pt>
                <c:pt idx="26">
                  <c:v>5864</c:v>
                </c:pt>
                <c:pt idx="27">
                  <c:v>4356</c:v>
                </c:pt>
                <c:pt idx="28">
                  <c:v>5754</c:v>
                </c:pt>
                <c:pt idx="29">
                  <c:v>5058</c:v>
                </c:pt>
                <c:pt idx="30">
                  <c:v>2787</c:v>
                </c:pt>
                <c:pt idx="31">
                  <c:v>7610</c:v>
                </c:pt>
                <c:pt idx="32">
                  <c:v>9930</c:v>
                </c:pt>
                <c:pt idx="33">
                  <c:v>9479</c:v>
                </c:pt>
                <c:pt idx="34">
                  <c:v>8474</c:v>
                </c:pt>
                <c:pt idx="35">
                  <c:v>9249</c:v>
                </c:pt>
                <c:pt idx="36">
                  <c:v>5741</c:v>
                </c:pt>
                <c:pt idx="37">
                  <c:v>3010</c:v>
                </c:pt>
                <c:pt idx="38">
                  <c:v>9285</c:v>
                </c:pt>
                <c:pt idx="39">
                  <c:v>14571</c:v>
                </c:pt>
                <c:pt idx="40">
                  <c:v>13547</c:v>
                </c:pt>
                <c:pt idx="41">
                  <c:v>10439</c:v>
                </c:pt>
                <c:pt idx="42">
                  <c:v>14246</c:v>
                </c:pt>
                <c:pt idx="43">
                  <c:v>9179</c:v>
                </c:pt>
                <c:pt idx="44">
                  <c:v>5679</c:v>
                </c:pt>
                <c:pt idx="45">
                  <c:v>11548</c:v>
                </c:pt>
                <c:pt idx="46">
                  <c:v>22522</c:v>
                </c:pt>
                <c:pt idx="47">
                  <c:v>14158</c:v>
                </c:pt>
                <c:pt idx="48">
                  <c:v>13444</c:v>
                </c:pt>
                <c:pt idx="49">
                  <c:v>22965</c:v>
                </c:pt>
                <c:pt idx="50">
                  <c:v>14411</c:v>
                </c:pt>
                <c:pt idx="51">
                  <c:v>8261</c:v>
                </c:pt>
                <c:pt idx="52">
                  <c:v>14501</c:v>
                </c:pt>
                <c:pt idx="53">
                  <c:v>25891</c:v>
                </c:pt>
                <c:pt idx="54">
                  <c:v>18032</c:v>
                </c:pt>
                <c:pt idx="55">
                  <c:v>27925</c:v>
                </c:pt>
                <c:pt idx="56">
                  <c:v>20363</c:v>
                </c:pt>
                <c:pt idx="57">
                  <c:v>12524</c:v>
                </c:pt>
                <c:pt idx="58">
                  <c:v>9301</c:v>
                </c:pt>
                <c:pt idx="59">
                  <c:v>17604</c:v>
                </c:pt>
                <c:pt idx="60">
                  <c:v>21995</c:v>
                </c:pt>
                <c:pt idx="61">
                  <c:v>21138</c:v>
                </c:pt>
                <c:pt idx="62">
                  <c:v>18597</c:v>
                </c:pt>
                <c:pt idx="63">
                  <c:v>17667</c:v>
                </c:pt>
                <c:pt idx="64">
                  <c:v>10977</c:v>
                </c:pt>
                <c:pt idx="65">
                  <c:v>6330</c:v>
                </c:pt>
                <c:pt idx="66">
                  <c:v>15544</c:v>
                </c:pt>
                <c:pt idx="67">
                  <c:v>194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5B-44FD-BABB-7344EE2BF8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C$2:$C$102</c:f>
              <c:numCache>
                <c:formatCode>General</c:formatCode>
                <c:ptCount val="10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75B-44FD-BABB-7344EE2BF81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D$2:$D$102</c:f>
              <c:numCache>
                <c:formatCode>General</c:formatCode>
                <c:ptCount val="101"/>
                <c:pt idx="63" formatCode="#,##0">
                  <c:v>19826</c:v>
                </c:pt>
                <c:pt idx="64" formatCode="#,##0">
                  <c:v>19267</c:v>
                </c:pt>
                <c:pt idx="65" formatCode="#,##0">
                  <c:v>18859</c:v>
                </c:pt>
                <c:pt idx="66" formatCode="#,##0">
                  <c:v>18617</c:v>
                </c:pt>
                <c:pt idx="67" formatCode="#,##0">
                  <c:v>18360</c:v>
                </c:pt>
                <c:pt idx="68" formatCode="#,##0">
                  <c:v>18102</c:v>
                </c:pt>
                <c:pt idx="69" formatCode="#,##0">
                  <c:v>17757</c:v>
                </c:pt>
                <c:pt idx="70" formatCode="#,##0">
                  <c:v>17329</c:v>
                </c:pt>
                <c:pt idx="71" formatCode="#,##0">
                  <c:v>16991</c:v>
                </c:pt>
                <c:pt idx="72" formatCode="#,##0">
                  <c:v>16724</c:v>
                </c:pt>
                <c:pt idx="73" formatCode="#,##0">
                  <c:v>16473</c:v>
                </c:pt>
                <c:pt idx="74" formatCode="#,##0">
                  <c:v>16181</c:v>
                </c:pt>
                <c:pt idx="75" formatCode="#,##0">
                  <c:v>15873</c:v>
                </c:pt>
                <c:pt idx="76" formatCode="#,##0">
                  <c:v>15562</c:v>
                </c:pt>
                <c:pt idx="77" formatCode="#,##0">
                  <c:v>15273</c:v>
                </c:pt>
                <c:pt idx="78" formatCode="#,##0">
                  <c:v>15014</c:v>
                </c:pt>
                <c:pt idx="79" formatCode="#,##0">
                  <c:v>14763</c:v>
                </c:pt>
                <c:pt idx="80" formatCode="#,##0">
                  <c:v>14501</c:v>
                </c:pt>
                <c:pt idx="81" formatCode="#,##0">
                  <c:v>14231</c:v>
                </c:pt>
                <c:pt idx="82" formatCode="#,##0">
                  <c:v>13968</c:v>
                </c:pt>
                <c:pt idx="83" formatCode="#,##0">
                  <c:v>13719</c:v>
                </c:pt>
                <c:pt idx="84" formatCode="#,##0">
                  <c:v>13480</c:v>
                </c:pt>
                <c:pt idx="85" formatCode="#,##0">
                  <c:v>13245</c:v>
                </c:pt>
                <c:pt idx="86" formatCode="#,##0">
                  <c:v>13010</c:v>
                </c:pt>
                <c:pt idx="87" formatCode="#,##0">
                  <c:v>12775</c:v>
                </c:pt>
                <c:pt idx="88" formatCode="#,##0">
                  <c:v>12546</c:v>
                </c:pt>
                <c:pt idx="89" formatCode="#,##0">
                  <c:v>12324</c:v>
                </c:pt>
                <c:pt idx="90" formatCode="#,##0">
                  <c:v>12108</c:v>
                </c:pt>
                <c:pt idx="91" formatCode="#,##0">
                  <c:v>11895</c:v>
                </c:pt>
                <c:pt idx="92" formatCode="#,##0">
                  <c:v>11685</c:v>
                </c:pt>
                <c:pt idx="93" formatCode="#,##0">
                  <c:v>11478</c:v>
                </c:pt>
                <c:pt idx="94" formatCode="#,##0">
                  <c:v>11276</c:v>
                </c:pt>
                <c:pt idx="95" formatCode="#,##0">
                  <c:v>11077</c:v>
                </c:pt>
                <c:pt idx="96" formatCode="#,##0">
                  <c:v>10884</c:v>
                </c:pt>
                <c:pt idx="97" formatCode="#,##0">
                  <c:v>10694</c:v>
                </c:pt>
                <c:pt idx="98" formatCode="#,##0">
                  <c:v>10506</c:v>
                </c:pt>
                <c:pt idx="99" formatCode="#,##0">
                  <c:v>10322</c:v>
                </c:pt>
                <c:pt idx="100" formatCode="#,##0">
                  <c:v>101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5B-44FD-BABB-7344EE2BF81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E$2:$E$102</c:f>
              <c:numCache>
                <c:formatCode>General</c:formatCode>
                <c:ptCount val="101"/>
                <c:pt idx="63" formatCode="#,##0">
                  <c:v>20269</c:v>
                </c:pt>
                <c:pt idx="64" formatCode="#,##0">
                  <c:v>19955</c:v>
                </c:pt>
                <c:pt idx="65" formatCode="#,##0">
                  <c:v>19685</c:v>
                </c:pt>
                <c:pt idx="66" formatCode="#,##0">
                  <c:v>19522</c:v>
                </c:pt>
                <c:pt idx="67" formatCode="#,##0">
                  <c:v>19409</c:v>
                </c:pt>
                <c:pt idx="68" formatCode="#,##0">
                  <c:v>19331</c:v>
                </c:pt>
                <c:pt idx="69" formatCode="#,##0">
                  <c:v>19180</c:v>
                </c:pt>
                <c:pt idx="70" formatCode="#,##0">
                  <c:v>18953</c:v>
                </c:pt>
                <c:pt idx="71" formatCode="#,##0">
                  <c:v>18745</c:v>
                </c:pt>
                <c:pt idx="72" formatCode="#,##0">
                  <c:v>18596</c:v>
                </c:pt>
                <c:pt idx="73" formatCode="#,##0">
                  <c:v>18475</c:v>
                </c:pt>
                <c:pt idx="74" formatCode="#,##0">
                  <c:v>18339</c:v>
                </c:pt>
                <c:pt idx="75" formatCode="#,##0">
                  <c:v>18182</c:v>
                </c:pt>
                <c:pt idx="76" formatCode="#,##0">
                  <c:v>18007</c:v>
                </c:pt>
                <c:pt idx="77" formatCode="#,##0">
                  <c:v>17839</c:v>
                </c:pt>
                <c:pt idx="78" formatCode="#,##0">
                  <c:v>17692</c:v>
                </c:pt>
                <c:pt idx="79" formatCode="#,##0">
                  <c:v>17558</c:v>
                </c:pt>
                <c:pt idx="80" formatCode="#,##0">
                  <c:v>17419</c:v>
                </c:pt>
                <c:pt idx="81" formatCode="#,##0">
                  <c:v>17268</c:v>
                </c:pt>
                <c:pt idx="82" formatCode="#,##0">
                  <c:v>17114</c:v>
                </c:pt>
                <c:pt idx="83" formatCode="#,##0">
                  <c:v>16967</c:v>
                </c:pt>
                <c:pt idx="84" formatCode="#,##0">
                  <c:v>16827</c:v>
                </c:pt>
                <c:pt idx="85" formatCode="#,##0">
                  <c:v>16691</c:v>
                </c:pt>
                <c:pt idx="86" formatCode="#,##0">
                  <c:v>16554</c:v>
                </c:pt>
                <c:pt idx="87" formatCode="#,##0">
                  <c:v>16413</c:v>
                </c:pt>
                <c:pt idx="88" formatCode="#,##0">
                  <c:v>16272</c:v>
                </c:pt>
                <c:pt idx="89" formatCode="#,##0">
                  <c:v>16136</c:v>
                </c:pt>
                <c:pt idx="90" formatCode="#,##0">
                  <c:v>16003</c:v>
                </c:pt>
                <c:pt idx="91" formatCode="#,##0">
                  <c:v>15871</c:v>
                </c:pt>
                <c:pt idx="92" formatCode="#,##0">
                  <c:v>15739</c:v>
                </c:pt>
                <c:pt idx="93" formatCode="#,##0">
                  <c:v>15608</c:v>
                </c:pt>
                <c:pt idx="94" formatCode="#,##0">
                  <c:v>15477</c:v>
                </c:pt>
                <c:pt idx="95" formatCode="#,##0">
                  <c:v>15348</c:v>
                </c:pt>
                <c:pt idx="96" formatCode="#,##0">
                  <c:v>15222</c:v>
                </c:pt>
                <c:pt idx="97" formatCode="#,##0">
                  <c:v>15096</c:v>
                </c:pt>
                <c:pt idx="98" formatCode="#,##0">
                  <c:v>14971</c:v>
                </c:pt>
                <c:pt idx="99" formatCode="#,##0">
                  <c:v>14847</c:v>
                </c:pt>
                <c:pt idx="100" formatCode="#,##0">
                  <c:v>147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75B-44FD-BABB-7344EE2BF81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chemeClr val="accent4"/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F$2:$F$102</c:f>
              <c:numCache>
                <c:formatCode>General</c:formatCode>
                <c:ptCount val="101"/>
                <c:pt idx="63" formatCode="#,##0">
                  <c:v>21156</c:v>
                </c:pt>
                <c:pt idx="64" formatCode="#,##0">
                  <c:v>21332</c:v>
                </c:pt>
                <c:pt idx="65" formatCode="#,##0">
                  <c:v>21335</c:v>
                </c:pt>
                <c:pt idx="66" formatCode="#,##0">
                  <c:v>21329</c:v>
                </c:pt>
                <c:pt idx="67" formatCode="#,##0">
                  <c:v>21538</c:v>
                </c:pt>
                <c:pt idx="68" formatCode="#,##0">
                  <c:v>21872</c:v>
                </c:pt>
                <c:pt idx="69" formatCode="#,##0">
                  <c:v>22172</c:v>
                </c:pt>
                <c:pt idx="70" formatCode="#,##0">
                  <c:v>22415</c:v>
                </c:pt>
                <c:pt idx="71" formatCode="#,##0">
                  <c:v>22523</c:v>
                </c:pt>
                <c:pt idx="72" formatCode="#,##0">
                  <c:v>22669</c:v>
                </c:pt>
                <c:pt idx="73" formatCode="#,##0">
                  <c:v>22892</c:v>
                </c:pt>
                <c:pt idx="74" formatCode="#,##0">
                  <c:v>23178</c:v>
                </c:pt>
                <c:pt idx="75" formatCode="#,##0">
                  <c:v>23437</c:v>
                </c:pt>
                <c:pt idx="76" formatCode="#,##0">
                  <c:v>23648</c:v>
                </c:pt>
                <c:pt idx="77" formatCode="#,##0">
                  <c:v>23837</c:v>
                </c:pt>
                <c:pt idx="78" formatCode="#,##0">
                  <c:v>24037</c:v>
                </c:pt>
                <c:pt idx="79" formatCode="#,##0">
                  <c:v>24277</c:v>
                </c:pt>
                <c:pt idx="80" formatCode="#,##0">
                  <c:v>24534</c:v>
                </c:pt>
                <c:pt idx="81" formatCode="#,##0">
                  <c:v>24783</c:v>
                </c:pt>
                <c:pt idx="82" formatCode="#,##0">
                  <c:v>25008</c:v>
                </c:pt>
                <c:pt idx="83" formatCode="#,##0">
                  <c:v>25228</c:v>
                </c:pt>
                <c:pt idx="84" formatCode="#,##0">
                  <c:v>25461</c:v>
                </c:pt>
                <c:pt idx="85" formatCode="#,##0">
                  <c:v>25709</c:v>
                </c:pt>
                <c:pt idx="86" formatCode="#,##0">
                  <c:v>25964</c:v>
                </c:pt>
                <c:pt idx="87" formatCode="#,##0">
                  <c:v>26213</c:v>
                </c:pt>
                <c:pt idx="88" formatCode="#,##0">
                  <c:v>26456</c:v>
                </c:pt>
                <c:pt idx="89" formatCode="#,##0">
                  <c:v>26700</c:v>
                </c:pt>
                <c:pt idx="90" formatCode="#,##0">
                  <c:v>26951</c:v>
                </c:pt>
                <c:pt idx="91" formatCode="#,##0">
                  <c:v>27209</c:v>
                </c:pt>
                <c:pt idx="92" formatCode="#,##0">
                  <c:v>27471</c:v>
                </c:pt>
                <c:pt idx="93" formatCode="#,##0">
                  <c:v>27731</c:v>
                </c:pt>
                <c:pt idx="94" formatCode="#,##0">
                  <c:v>27991</c:v>
                </c:pt>
                <c:pt idx="95" formatCode="#,##0">
                  <c:v>28252</c:v>
                </c:pt>
                <c:pt idx="96" formatCode="#,##0">
                  <c:v>28518</c:v>
                </c:pt>
                <c:pt idx="97" formatCode="#,##0">
                  <c:v>28789</c:v>
                </c:pt>
                <c:pt idx="98" formatCode="#,##0">
                  <c:v>29061</c:v>
                </c:pt>
                <c:pt idx="99" formatCode="#,##0">
                  <c:v>29335</c:v>
                </c:pt>
                <c:pt idx="100" formatCode="#,##0">
                  <c:v>296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481-45EE-AB4F-35B88E8300A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G$2:$G$102</c:f>
              <c:numCache>
                <c:formatCode>General</c:formatCode>
                <c:ptCount val="101"/>
                <c:pt idx="63" formatCode="#,##0">
                  <c:v>21599</c:v>
                </c:pt>
                <c:pt idx="64" formatCode="#,##0">
                  <c:v>22021</c:v>
                </c:pt>
                <c:pt idx="65" formatCode="#,##0">
                  <c:v>22161</c:v>
                </c:pt>
                <c:pt idx="66" formatCode="#,##0">
                  <c:v>22233</c:v>
                </c:pt>
                <c:pt idx="67" formatCode="#,##0">
                  <c:v>22619</c:v>
                </c:pt>
                <c:pt idx="68" formatCode="#,##0">
                  <c:v>23184</c:v>
                </c:pt>
                <c:pt idx="69" formatCode="#,##0">
                  <c:v>23741</c:v>
                </c:pt>
                <c:pt idx="70" formatCode="#,##0">
                  <c:v>24253</c:v>
                </c:pt>
                <c:pt idx="71" formatCode="#,##0">
                  <c:v>24547</c:v>
                </c:pt>
                <c:pt idx="72" formatCode="#,##0">
                  <c:v>24875</c:v>
                </c:pt>
                <c:pt idx="73" formatCode="#,##0">
                  <c:v>25314</c:v>
                </c:pt>
                <c:pt idx="74" formatCode="#,##0">
                  <c:v>25872</c:v>
                </c:pt>
                <c:pt idx="75" formatCode="#,##0">
                  <c:v>26404</c:v>
                </c:pt>
                <c:pt idx="76" formatCode="#,##0">
                  <c:v>26869</c:v>
                </c:pt>
                <c:pt idx="77" formatCode="#,##0">
                  <c:v>27303</c:v>
                </c:pt>
                <c:pt idx="78" formatCode="#,##0">
                  <c:v>27748</c:v>
                </c:pt>
                <c:pt idx="79" formatCode="#,##0">
                  <c:v>28258</c:v>
                </c:pt>
                <c:pt idx="80" formatCode="#,##0">
                  <c:v>28807</c:v>
                </c:pt>
                <c:pt idx="81" formatCode="#,##0">
                  <c:v>29354</c:v>
                </c:pt>
                <c:pt idx="82" formatCode="#,##0">
                  <c:v>29870</c:v>
                </c:pt>
                <c:pt idx="83" formatCode="#,##0">
                  <c:v>30380</c:v>
                </c:pt>
                <c:pt idx="84" formatCode="#,##0">
                  <c:v>30913</c:v>
                </c:pt>
                <c:pt idx="85" formatCode="#,##0">
                  <c:v>31477</c:v>
                </c:pt>
                <c:pt idx="86" formatCode="#,##0">
                  <c:v>32060</c:v>
                </c:pt>
                <c:pt idx="87" formatCode="#,##0">
                  <c:v>32644</c:v>
                </c:pt>
                <c:pt idx="88" formatCode="#,##0">
                  <c:v>33223</c:v>
                </c:pt>
                <c:pt idx="89" formatCode="#,##0">
                  <c:v>33807</c:v>
                </c:pt>
                <c:pt idx="90" formatCode="#,##0">
                  <c:v>34409</c:v>
                </c:pt>
                <c:pt idx="91" formatCode="#,##0">
                  <c:v>35032</c:v>
                </c:pt>
                <c:pt idx="92" formatCode="#,##0">
                  <c:v>35667</c:v>
                </c:pt>
                <c:pt idx="93" formatCode="#,##0">
                  <c:v>36308</c:v>
                </c:pt>
                <c:pt idx="94" formatCode="#,##0">
                  <c:v>36954</c:v>
                </c:pt>
                <c:pt idx="95" formatCode="#,##0">
                  <c:v>37610</c:v>
                </c:pt>
                <c:pt idx="96" formatCode="#,##0">
                  <c:v>38282</c:v>
                </c:pt>
                <c:pt idx="97" formatCode="#,##0">
                  <c:v>38970</c:v>
                </c:pt>
                <c:pt idx="98" formatCode="#,##0">
                  <c:v>39670</c:v>
                </c:pt>
                <c:pt idx="99" formatCode="#,##0">
                  <c:v>40380</c:v>
                </c:pt>
                <c:pt idx="100" formatCode="#,##0">
                  <c:v>410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481-45EE-AB4F-35B88E8300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0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H$122:$H$344</c:f>
              <c:numCache>
                <c:formatCode>0</c:formatCode>
                <c:ptCount val="22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  <c:pt idx="188" formatCode="General">
                  <c:v>100</c:v>
                </c:pt>
                <c:pt idx="189" formatCode="General">
                  <c:v>100</c:v>
                </c:pt>
                <c:pt idx="190" formatCode="General">
                  <c:v>100</c:v>
                </c:pt>
                <c:pt idx="191" formatCode="General">
                  <c:v>100</c:v>
                </c:pt>
                <c:pt idx="192" formatCode="General">
                  <c:v>100</c:v>
                </c:pt>
                <c:pt idx="193" formatCode="General">
                  <c:v>100</c:v>
                </c:pt>
                <c:pt idx="194" formatCode="General">
                  <c:v>100</c:v>
                </c:pt>
                <c:pt idx="195" formatCode="General">
                  <c:v>100</c:v>
                </c:pt>
                <c:pt idx="196" formatCode="General">
                  <c:v>100</c:v>
                </c:pt>
                <c:pt idx="197" formatCode="General">
                  <c:v>100</c:v>
                </c:pt>
                <c:pt idx="198" formatCode="General">
                  <c:v>100</c:v>
                </c:pt>
                <c:pt idx="199" formatCode="General">
                  <c:v>100</c:v>
                </c:pt>
                <c:pt idx="200" formatCode="General">
                  <c:v>100</c:v>
                </c:pt>
                <c:pt idx="201" formatCode="General">
                  <c:v>100</c:v>
                </c:pt>
                <c:pt idx="202" formatCode="General">
                  <c:v>100</c:v>
                </c:pt>
                <c:pt idx="203" formatCode="General">
                  <c:v>100</c:v>
                </c:pt>
                <c:pt idx="204" formatCode="General">
                  <c:v>100</c:v>
                </c:pt>
                <c:pt idx="205" formatCode="General">
                  <c:v>100</c:v>
                </c:pt>
                <c:pt idx="206" formatCode="General">
                  <c:v>100</c:v>
                </c:pt>
                <c:pt idx="207" formatCode="General">
                  <c:v>100</c:v>
                </c:pt>
                <c:pt idx="208" formatCode="General">
                  <c:v>100</c:v>
                </c:pt>
                <c:pt idx="209" formatCode="General">
                  <c:v>100</c:v>
                </c:pt>
                <c:pt idx="210" formatCode="General">
                  <c:v>100</c:v>
                </c:pt>
                <c:pt idx="211" formatCode="General">
                  <c:v>100</c:v>
                </c:pt>
                <c:pt idx="212" formatCode="General">
                  <c:v>100</c:v>
                </c:pt>
                <c:pt idx="213" formatCode="General">
                  <c:v>100</c:v>
                </c:pt>
                <c:pt idx="214" formatCode="General">
                  <c:v>100</c:v>
                </c:pt>
                <c:pt idx="215" formatCode="General">
                  <c:v>100</c:v>
                </c:pt>
                <c:pt idx="216" formatCode="General">
                  <c:v>100</c:v>
                </c:pt>
                <c:pt idx="217" formatCode="General">
                  <c:v>100</c:v>
                </c:pt>
                <c:pt idx="218" formatCode="General">
                  <c:v>100</c:v>
                </c:pt>
                <c:pt idx="219" formatCode="General">
                  <c:v>100</c:v>
                </c:pt>
                <c:pt idx="220" formatCode="General">
                  <c:v>100</c:v>
                </c:pt>
                <c:pt idx="221" formatCode="General">
                  <c:v>100</c:v>
                </c:pt>
                <c:pt idx="222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56-44D5-9D37-C4836F1D4B2F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I$122:$I$344</c:f>
              <c:numCache>
                <c:formatCode>0</c:formatCode>
                <c:ptCount val="22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  <c:pt idx="188" formatCode="General">
                  <c:v>50</c:v>
                </c:pt>
                <c:pt idx="189" formatCode="General">
                  <c:v>50</c:v>
                </c:pt>
                <c:pt idx="190" formatCode="General">
                  <c:v>50</c:v>
                </c:pt>
                <c:pt idx="191" formatCode="General">
                  <c:v>50</c:v>
                </c:pt>
                <c:pt idx="192" formatCode="General">
                  <c:v>50</c:v>
                </c:pt>
                <c:pt idx="193" formatCode="General">
                  <c:v>50</c:v>
                </c:pt>
                <c:pt idx="194" formatCode="General">
                  <c:v>50</c:v>
                </c:pt>
                <c:pt idx="195" formatCode="General">
                  <c:v>50</c:v>
                </c:pt>
                <c:pt idx="196" formatCode="General">
                  <c:v>50</c:v>
                </c:pt>
                <c:pt idx="197" formatCode="General">
                  <c:v>50</c:v>
                </c:pt>
                <c:pt idx="198" formatCode="General">
                  <c:v>50</c:v>
                </c:pt>
                <c:pt idx="199" formatCode="General">
                  <c:v>50</c:v>
                </c:pt>
                <c:pt idx="200" formatCode="General">
                  <c:v>50</c:v>
                </c:pt>
                <c:pt idx="201" formatCode="General">
                  <c:v>50</c:v>
                </c:pt>
                <c:pt idx="202" formatCode="General">
                  <c:v>50</c:v>
                </c:pt>
                <c:pt idx="203" formatCode="General">
                  <c:v>50</c:v>
                </c:pt>
                <c:pt idx="204" formatCode="General">
                  <c:v>50</c:v>
                </c:pt>
                <c:pt idx="205" formatCode="General">
                  <c:v>50</c:v>
                </c:pt>
                <c:pt idx="206" formatCode="General">
                  <c:v>50</c:v>
                </c:pt>
                <c:pt idx="207" formatCode="General">
                  <c:v>50</c:v>
                </c:pt>
                <c:pt idx="208" formatCode="General">
                  <c:v>50</c:v>
                </c:pt>
                <c:pt idx="209" formatCode="General">
                  <c:v>50</c:v>
                </c:pt>
                <c:pt idx="210" formatCode="General">
                  <c:v>50</c:v>
                </c:pt>
                <c:pt idx="211" formatCode="General">
                  <c:v>50</c:v>
                </c:pt>
                <c:pt idx="212" formatCode="General">
                  <c:v>50</c:v>
                </c:pt>
                <c:pt idx="213" formatCode="General">
                  <c:v>50</c:v>
                </c:pt>
                <c:pt idx="214" formatCode="General">
                  <c:v>50</c:v>
                </c:pt>
                <c:pt idx="215" formatCode="General">
                  <c:v>50</c:v>
                </c:pt>
                <c:pt idx="216" formatCode="General">
                  <c:v>50</c:v>
                </c:pt>
                <c:pt idx="217" formatCode="General">
                  <c:v>50</c:v>
                </c:pt>
                <c:pt idx="218" formatCode="General">
                  <c:v>50</c:v>
                </c:pt>
                <c:pt idx="219" formatCode="General">
                  <c:v>50</c:v>
                </c:pt>
                <c:pt idx="220" formatCode="General">
                  <c:v>50</c:v>
                </c:pt>
                <c:pt idx="221" formatCode="General">
                  <c:v>50</c:v>
                </c:pt>
                <c:pt idx="222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56-44D5-9D37-C4836F1D4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B$122:$B$344</c:f>
              <c:numCache>
                <c:formatCode>0</c:formatCode>
                <c:ptCount val="223"/>
                <c:pt idx="0">
                  <c:v>24.871371021638094</c:v>
                </c:pt>
                <c:pt idx="1">
                  <c:v>24.194599021049299</c:v>
                </c:pt>
                <c:pt idx="2">
                  <c:v>24.194599021049299</c:v>
                </c:pt>
                <c:pt idx="3">
                  <c:v>25.04056402178529</c:v>
                </c:pt>
                <c:pt idx="4">
                  <c:v>24.194599021049299</c:v>
                </c:pt>
                <c:pt idx="5">
                  <c:v>25.04056402178529</c:v>
                </c:pt>
                <c:pt idx="6">
                  <c:v>24.025406020902103</c:v>
                </c:pt>
                <c:pt idx="7">
                  <c:v>21.656704018841335</c:v>
                </c:pt>
                <c:pt idx="8">
                  <c:v>22.502669019577322</c:v>
                </c:pt>
                <c:pt idx="9">
                  <c:v>20.13396701751655</c:v>
                </c:pt>
                <c:pt idx="10">
                  <c:v>18.272844015897377</c:v>
                </c:pt>
                <c:pt idx="11">
                  <c:v>17.765265015455782</c:v>
                </c:pt>
                <c:pt idx="12">
                  <c:v>16.750107014572592</c:v>
                </c:pt>
                <c:pt idx="13">
                  <c:v>14.719791012806217</c:v>
                </c:pt>
                <c:pt idx="14">
                  <c:v>13.535440011775833</c:v>
                </c:pt>
                <c:pt idx="15">
                  <c:v>10.659159009273468</c:v>
                </c:pt>
                <c:pt idx="16">
                  <c:v>9.8131940085374794</c:v>
                </c:pt>
                <c:pt idx="17">
                  <c:v>8.4596500073598957</c:v>
                </c:pt>
                <c:pt idx="18">
                  <c:v>8.4596500073598957</c:v>
                </c:pt>
                <c:pt idx="19">
                  <c:v>8.4596500073598957</c:v>
                </c:pt>
                <c:pt idx="20">
                  <c:v>7.9520710069183016</c:v>
                </c:pt>
                <c:pt idx="21">
                  <c:v>5.2449830045631352</c:v>
                </c:pt>
                <c:pt idx="22">
                  <c:v>4.9065970042687397</c:v>
                </c:pt>
                <c:pt idx="23">
                  <c:v>4.2298250036799478</c:v>
                </c:pt>
                <c:pt idx="24">
                  <c:v>3.2146670027967605</c:v>
                </c:pt>
                <c:pt idx="25">
                  <c:v>3.0454740026495624</c:v>
                </c:pt>
                <c:pt idx="26">
                  <c:v>3.2146670027967605</c:v>
                </c:pt>
                <c:pt idx="27">
                  <c:v>2.7070880023551669</c:v>
                </c:pt>
                <c:pt idx="28">
                  <c:v>5.2449830045631352</c:v>
                </c:pt>
                <c:pt idx="29">
                  <c:v>6.7677200058879166</c:v>
                </c:pt>
                <c:pt idx="30">
                  <c:v>9.1364220079486884</c:v>
                </c:pt>
                <c:pt idx="31">
                  <c:v>12.181896010598249</c:v>
                </c:pt>
                <c:pt idx="32">
                  <c:v>13.197054011481436</c:v>
                </c:pt>
                <c:pt idx="33">
                  <c:v>13.704633011923031</c:v>
                </c:pt>
                <c:pt idx="34">
                  <c:v>16.411721014278196</c:v>
                </c:pt>
                <c:pt idx="35">
                  <c:v>15.058177013100615</c:v>
                </c:pt>
                <c:pt idx="36">
                  <c:v>19.457195016927759</c:v>
                </c:pt>
                <c:pt idx="37">
                  <c:v>21.487511018694132</c:v>
                </c:pt>
                <c:pt idx="38">
                  <c:v>25.04056402178529</c:v>
                </c:pt>
                <c:pt idx="39">
                  <c:v>27.409266023846062</c:v>
                </c:pt>
                <c:pt idx="40">
                  <c:v>29.94716102605403</c:v>
                </c:pt>
                <c:pt idx="41">
                  <c:v>32.992635028703596</c:v>
                </c:pt>
                <c:pt idx="42">
                  <c:v>37.560846032677937</c:v>
                </c:pt>
                <c:pt idx="43">
                  <c:v>37.053267032236342</c:v>
                </c:pt>
                <c:pt idx="44">
                  <c:v>37.222460032383538</c:v>
                </c:pt>
                <c:pt idx="45">
                  <c:v>34.007793029586779</c:v>
                </c:pt>
                <c:pt idx="46">
                  <c:v>36.207302031500348</c:v>
                </c:pt>
                <c:pt idx="47">
                  <c:v>35.022951030469969</c:v>
                </c:pt>
                <c:pt idx="48">
                  <c:v>34.007793029586779</c:v>
                </c:pt>
                <c:pt idx="49">
                  <c:v>34.007793029586779</c:v>
                </c:pt>
                <c:pt idx="50">
                  <c:v>35.192144030617165</c:v>
                </c:pt>
                <c:pt idx="51">
                  <c:v>32.992635028703596</c:v>
                </c:pt>
                <c:pt idx="52">
                  <c:v>34.176986029733975</c:v>
                </c:pt>
                <c:pt idx="53">
                  <c:v>30.285547026348429</c:v>
                </c:pt>
                <c:pt idx="54">
                  <c:v>28.932003025170843</c:v>
                </c:pt>
                <c:pt idx="55">
                  <c:v>27.747652024140457</c:v>
                </c:pt>
                <c:pt idx="56">
                  <c:v>27.747652024140457</c:v>
                </c:pt>
                <c:pt idx="57">
                  <c:v>26.732494023257271</c:v>
                </c:pt>
                <c:pt idx="58">
                  <c:v>29.608775025759634</c:v>
                </c:pt>
                <c:pt idx="59">
                  <c:v>29.101196025318039</c:v>
                </c:pt>
                <c:pt idx="60">
                  <c:v>28.932003025170843</c:v>
                </c:pt>
                <c:pt idx="61">
                  <c:v>29.777968025906834</c:v>
                </c:pt>
                <c:pt idx="62">
                  <c:v>28.762810025023644</c:v>
                </c:pt>
                <c:pt idx="63">
                  <c:v>26.732494023257271</c:v>
                </c:pt>
                <c:pt idx="64">
                  <c:v>22.841055019871717</c:v>
                </c:pt>
                <c:pt idx="65">
                  <c:v>19.28800201678056</c:v>
                </c:pt>
                <c:pt idx="66">
                  <c:v>16.750107014572592</c:v>
                </c:pt>
                <c:pt idx="67">
                  <c:v>15.904142013836603</c:v>
                </c:pt>
                <c:pt idx="68">
                  <c:v>14.55059801265902</c:v>
                </c:pt>
                <c:pt idx="69">
                  <c:v>13.197054011481436</c:v>
                </c:pt>
                <c:pt idx="70">
                  <c:v>11.335931009862259</c:v>
                </c:pt>
                <c:pt idx="71">
                  <c:v>10.48996600912627</c:v>
                </c:pt>
                <c:pt idx="72">
                  <c:v>10.48996600912627</c:v>
                </c:pt>
                <c:pt idx="73">
                  <c:v>10.828352009420668</c:v>
                </c:pt>
                <c:pt idx="74">
                  <c:v>10.997545009567864</c:v>
                </c:pt>
                <c:pt idx="75">
                  <c:v>11.335931009862259</c:v>
                </c:pt>
                <c:pt idx="76">
                  <c:v>12.181896010598249</c:v>
                </c:pt>
                <c:pt idx="77">
                  <c:v>12.520282010892645</c:v>
                </c:pt>
                <c:pt idx="78">
                  <c:v>11.843510010303854</c:v>
                </c:pt>
                <c:pt idx="79">
                  <c:v>10.828352009420668</c:v>
                </c:pt>
                <c:pt idx="80">
                  <c:v>9.1364220079486884</c:v>
                </c:pt>
                <c:pt idx="81">
                  <c:v>8.6288430075070934</c:v>
                </c:pt>
                <c:pt idx="82">
                  <c:v>8.4596500073598957</c:v>
                </c:pt>
                <c:pt idx="83">
                  <c:v>7.1061060061823129</c:v>
                </c:pt>
                <c:pt idx="84">
                  <c:v>6.0909480052991247</c:v>
                </c:pt>
                <c:pt idx="85">
                  <c:v>6.7677200058879166</c:v>
                </c:pt>
                <c:pt idx="86">
                  <c:v>6.9369130060351143</c:v>
                </c:pt>
                <c:pt idx="87">
                  <c:v>7.7828780067711039</c:v>
                </c:pt>
                <c:pt idx="88">
                  <c:v>8.6288430075070934</c:v>
                </c:pt>
                <c:pt idx="89">
                  <c:v>8.4596500073598957</c:v>
                </c:pt>
                <c:pt idx="90">
                  <c:v>8.6288430075070934</c:v>
                </c:pt>
                <c:pt idx="91">
                  <c:v>9.6440010083902798</c:v>
                </c:pt>
                <c:pt idx="92">
                  <c:v>10.828352009420668</c:v>
                </c:pt>
                <c:pt idx="93">
                  <c:v>11.674317010156656</c:v>
                </c:pt>
                <c:pt idx="94">
                  <c:v>11.843510010303854</c:v>
                </c:pt>
                <c:pt idx="95">
                  <c:v>10.48996600912627</c:v>
                </c:pt>
                <c:pt idx="96">
                  <c:v>11.335931009862259</c:v>
                </c:pt>
                <c:pt idx="97">
                  <c:v>11.843510010303854</c:v>
                </c:pt>
                <c:pt idx="98">
                  <c:v>12.858668011187042</c:v>
                </c:pt>
                <c:pt idx="99">
                  <c:v>13.02786101133424</c:v>
                </c:pt>
                <c:pt idx="100">
                  <c:v>13.197054011481436</c:v>
                </c:pt>
                <c:pt idx="101">
                  <c:v>14.719791012806217</c:v>
                </c:pt>
                <c:pt idx="102">
                  <c:v>16.242528014131</c:v>
                </c:pt>
                <c:pt idx="103">
                  <c:v>15.734949013689405</c:v>
                </c:pt>
                <c:pt idx="104">
                  <c:v>18.442037016044573</c:v>
                </c:pt>
                <c:pt idx="105">
                  <c:v>21.14912501839974</c:v>
                </c:pt>
                <c:pt idx="106">
                  <c:v>23.010248020018917</c:v>
                </c:pt>
                <c:pt idx="107">
                  <c:v>28.255231024582052</c:v>
                </c:pt>
                <c:pt idx="108">
                  <c:v>27.409266023846062</c:v>
                </c:pt>
                <c:pt idx="109">
                  <c:v>27.070880023551666</c:v>
                </c:pt>
                <c:pt idx="110">
                  <c:v>27.747652024140457</c:v>
                </c:pt>
                <c:pt idx="111">
                  <c:v>28.255231024582052</c:v>
                </c:pt>
                <c:pt idx="112">
                  <c:v>26.394108022962872</c:v>
                </c:pt>
                <c:pt idx="113">
                  <c:v>25.548143022226885</c:v>
                </c:pt>
                <c:pt idx="114">
                  <c:v>21.656704018841335</c:v>
                </c:pt>
                <c:pt idx="115">
                  <c:v>22.671862019724518</c:v>
                </c:pt>
                <c:pt idx="116">
                  <c:v>24.194599021049299</c:v>
                </c:pt>
                <c:pt idx="117">
                  <c:v>25.548143022226885</c:v>
                </c:pt>
                <c:pt idx="118">
                  <c:v>25.548143022226885</c:v>
                </c:pt>
                <c:pt idx="119">
                  <c:v>24.871371021638094</c:v>
                </c:pt>
                <c:pt idx="120">
                  <c:v>27.578459023993261</c:v>
                </c:pt>
                <c:pt idx="121">
                  <c:v>31.131512027084415</c:v>
                </c:pt>
                <c:pt idx="122">
                  <c:v>36.376495031647551</c:v>
                </c:pt>
                <c:pt idx="123">
                  <c:v>37.391653032530741</c:v>
                </c:pt>
                <c:pt idx="124">
                  <c:v>36.545688031794754</c:v>
                </c:pt>
                <c:pt idx="125">
                  <c:v>41.28309203591629</c:v>
                </c:pt>
                <c:pt idx="126">
                  <c:v>46.358882040332226</c:v>
                </c:pt>
                <c:pt idx="127">
                  <c:v>47.374040041215416</c:v>
                </c:pt>
                <c:pt idx="128">
                  <c:v>47.881619041657004</c:v>
                </c:pt>
                <c:pt idx="129">
                  <c:v>47.20484704106822</c:v>
                </c:pt>
                <c:pt idx="130">
                  <c:v>50.588707044012175</c:v>
                </c:pt>
                <c:pt idx="131">
                  <c:v>50.08112804357058</c:v>
                </c:pt>
                <c:pt idx="132">
                  <c:v>54.649339047544927</c:v>
                </c:pt>
                <c:pt idx="133">
                  <c:v>63.954954055640812</c:v>
                </c:pt>
                <c:pt idx="134">
                  <c:v>72.583797063147912</c:v>
                </c:pt>
                <c:pt idx="135">
                  <c:v>83.581342072715771</c:v>
                </c:pt>
                <c:pt idx="136">
                  <c:v>95.932431083461225</c:v>
                </c:pt>
                <c:pt idx="137">
                  <c:v>99.823870086846767</c:v>
                </c:pt>
                <c:pt idx="138">
                  <c:v>104.89966009126272</c:v>
                </c:pt>
                <c:pt idx="139">
                  <c:v>112.68253809803382</c:v>
                </c:pt>
                <c:pt idx="140">
                  <c:v>131.63215411451998</c:v>
                </c:pt>
                <c:pt idx="141">
                  <c:v>149.22822612982856</c:v>
                </c:pt>
                <c:pt idx="142">
                  <c:v>173.08443915058345</c:v>
                </c:pt>
                <c:pt idx="143">
                  <c:v>192.71082716765844</c:v>
                </c:pt>
                <c:pt idx="144">
                  <c:v>201.50886317531271</c:v>
                </c:pt>
                <c:pt idx="145">
                  <c:v>212.50640818488057</c:v>
                </c:pt>
                <c:pt idx="146">
                  <c:v>236.36262120563549</c:v>
                </c:pt>
                <c:pt idx="147">
                  <c:v>259.03448322535996</c:v>
                </c:pt>
                <c:pt idx="148">
                  <c:v>282.55231024582048</c:v>
                </c:pt>
                <c:pt idx="149">
                  <c:v>287.28971424994205</c:v>
                </c:pt>
                <c:pt idx="150">
                  <c:v>307.25448826731144</c:v>
                </c:pt>
                <c:pt idx="151">
                  <c:v>337.37084229351262</c:v>
                </c:pt>
                <c:pt idx="152">
                  <c:v>343.29259729866453</c:v>
                </c:pt>
                <c:pt idx="153">
                  <c:v>372.22460032383538</c:v>
                </c:pt>
                <c:pt idx="154">
                  <c:v>391.85098834091036</c:v>
                </c:pt>
                <c:pt idx="155">
                  <c:v>422.13653536725883</c:v>
                </c:pt>
                <c:pt idx="156">
                  <c:v>452.25288939346007</c:v>
                </c:pt>
                <c:pt idx="157">
                  <c:v>487.27584042392994</c:v>
                </c:pt>
                <c:pt idx="158">
                  <c:v>486.42987542319401</c:v>
                </c:pt>
                <c:pt idx="159">
                  <c:v>478.9853834167173</c:v>
                </c:pt>
                <c:pt idx="160">
                  <c:v>517.5613874502784</c:v>
                </c:pt>
                <c:pt idx="161">
                  <c:v>591.66792151475113</c:v>
                </c:pt>
                <c:pt idx="162">
                  <c:v>612.64785353300363</c:v>
                </c:pt>
                <c:pt idx="163">
                  <c:v>625.33732854404343</c:v>
                </c:pt>
                <c:pt idx="164">
                  <c:v>629.90553954801783</c:v>
                </c:pt>
                <c:pt idx="165">
                  <c:v>690.64582660086182</c:v>
                </c:pt>
                <c:pt idx="166">
                  <c:v>708.91867061675919</c:v>
                </c:pt>
                <c:pt idx="167">
                  <c:v>706.88835461499286</c:v>
                </c:pt>
                <c:pt idx="168">
                  <c:v>762.21446566312659</c:v>
                </c:pt>
                <c:pt idx="169">
                  <c:v>742.58807764605172</c:v>
                </c:pt>
                <c:pt idx="170">
                  <c:v>802.48239969815961</c:v>
                </c:pt>
                <c:pt idx="171">
                  <c:v>868.29847675541964</c:v>
                </c:pt>
                <c:pt idx="172">
                  <c:v>875.57377576174929</c:v>
                </c:pt>
                <c:pt idx="173">
                  <c:v>878.45005676425149</c:v>
                </c:pt>
                <c:pt idx="174">
                  <c:v>918.88718379943191</c:v>
                </c:pt>
                <c:pt idx="175">
                  <c:v>904.67497178706719</c:v>
                </c:pt>
                <c:pt idx="176">
                  <c:v>952.38739782857704</c:v>
                </c:pt>
                <c:pt idx="177">
                  <c:v>1007.3751228764163</c:v>
                </c:pt>
                <c:pt idx="178">
                  <c:v>1000.2690168702341</c:v>
                </c:pt>
                <c:pt idx="179">
                  <c:v>985.04164685698629</c:v>
                </c:pt>
                <c:pt idx="180">
                  <c:v>997.22354286758446</c:v>
                </c:pt>
                <c:pt idx="181">
                  <c:v>960.33946883549538</c:v>
                </c:pt>
                <c:pt idx="182">
                  <c:v>962.87736383770334</c:v>
                </c:pt>
                <c:pt idx="183">
                  <c:v>960.17027583534809</c:v>
                </c:pt>
                <c:pt idx="184">
                  <c:v>909.41237579118865</c:v>
                </c:pt>
                <c:pt idx="185">
                  <c:v>871.17475775792207</c:v>
                </c:pt>
                <c:pt idx="186">
                  <c:v>846.30338673628398</c:v>
                </c:pt>
                <c:pt idx="187">
                  <c:v>830.73763072274176</c:v>
                </c:pt>
                <c:pt idx="188">
                  <c:v>853.74787874276069</c:v>
                </c:pt>
                <c:pt idx="189">
                  <c:v>787.255029684911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56-44D5-9D37-C4836F1D4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C$122:$C$344</c:f>
              <c:numCache>
                <c:formatCode>General</c:formatCode>
                <c:ptCount val="22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356-44D5-9D37-C4836F1D4B2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D$122:$D$344</c:f>
              <c:numCache>
                <c:formatCode>General</c:formatCode>
                <c:ptCount val="223"/>
                <c:pt idx="185" formatCode="0">
                  <c:v>936.144869814446</c:v>
                </c:pt>
                <c:pt idx="186" formatCode="0">
                  <c:v>924.30135980414218</c:v>
                </c:pt>
                <c:pt idx="187" formatCode="0">
                  <c:v>910.76591979236639</c:v>
                </c:pt>
                <c:pt idx="188">
                  <c:v>897.56886578088495</c:v>
                </c:pt>
                <c:pt idx="189">
                  <c:v>885.38696977028667</c:v>
                </c:pt>
                <c:pt idx="190">
                  <c:v>871.17475775792207</c:v>
                </c:pt>
                <c:pt idx="191">
                  <c:v>853.57868574261352</c:v>
                </c:pt>
                <c:pt idx="192">
                  <c:v>837.33615772848248</c:v>
                </c:pt>
                <c:pt idx="193">
                  <c:v>822.61636671567624</c:v>
                </c:pt>
                <c:pt idx="194">
                  <c:v>808.57334770345881</c:v>
                </c:pt>
                <c:pt idx="195">
                  <c:v>794.69952169138867</c:v>
                </c:pt>
                <c:pt idx="196">
                  <c:v>780.48730967902395</c:v>
                </c:pt>
                <c:pt idx="197">
                  <c:v>765.936711666365</c:v>
                </c:pt>
                <c:pt idx="198">
                  <c:v>751.55530665385311</c:v>
                </c:pt>
                <c:pt idx="199">
                  <c:v>738.01986664207732</c:v>
                </c:pt>
                <c:pt idx="200">
                  <c:v>724.99200563074305</c:v>
                </c:pt>
                <c:pt idx="201">
                  <c:v>712.30253061970325</c:v>
                </c:pt>
                <c:pt idx="202">
                  <c:v>699.27466960836898</c:v>
                </c:pt>
                <c:pt idx="203">
                  <c:v>686.58519459732906</c:v>
                </c:pt>
                <c:pt idx="204">
                  <c:v>674.23410558658372</c:v>
                </c:pt>
                <c:pt idx="205">
                  <c:v>662.22140257613262</c:v>
                </c:pt>
                <c:pt idx="206">
                  <c:v>650.54708556597598</c:v>
                </c:pt>
                <c:pt idx="207">
                  <c:v>639.04196155596651</c:v>
                </c:pt>
                <c:pt idx="208">
                  <c:v>627.53683754595704</c:v>
                </c:pt>
                <c:pt idx="209">
                  <c:v>616.37009953624192</c:v>
                </c:pt>
                <c:pt idx="210">
                  <c:v>605.37255452667409</c:v>
                </c:pt>
                <c:pt idx="211">
                  <c:v>594.54420251725344</c:v>
                </c:pt>
                <c:pt idx="212">
                  <c:v>584.05423650812725</c:v>
                </c:pt>
                <c:pt idx="213">
                  <c:v>573.73346349914812</c:v>
                </c:pt>
                <c:pt idx="214">
                  <c:v>563.58188349031616</c:v>
                </c:pt>
                <c:pt idx="215">
                  <c:v>553.59949648163149</c:v>
                </c:pt>
                <c:pt idx="216">
                  <c:v>543.78630247309411</c:v>
                </c:pt>
                <c:pt idx="217">
                  <c:v>534.14230146470379</c:v>
                </c:pt>
                <c:pt idx="218">
                  <c:v>524.83668645660794</c:v>
                </c:pt>
                <c:pt idx="219">
                  <c:v>515.70026444865925</c:v>
                </c:pt>
                <c:pt idx="220">
                  <c:v>506.56384244071057</c:v>
                </c:pt>
                <c:pt idx="221">
                  <c:v>497.59661343290907</c:v>
                </c:pt>
                <c:pt idx="222">
                  <c:v>488.798577425254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356-44D5-9D37-C4836F1D4B2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E$122:$E$344</c:f>
              <c:numCache>
                <c:formatCode>General</c:formatCode>
                <c:ptCount val="223"/>
                <c:pt idx="185" formatCode="0">
                  <c:v>939.02115081694842</c:v>
                </c:pt>
                <c:pt idx="186" formatCode="0">
                  <c:v>931.74585181061889</c:v>
                </c:pt>
                <c:pt idx="187" formatCode="0">
                  <c:v>923.62458780355337</c:v>
                </c:pt>
                <c:pt idx="188">
                  <c:v>916.34928879722395</c:v>
                </c:pt>
                <c:pt idx="189">
                  <c:v>911.10430579266074</c:v>
                </c:pt>
                <c:pt idx="190">
                  <c:v>905.01335778736154</c:v>
                </c:pt>
                <c:pt idx="191">
                  <c:v>896.72290078014885</c:v>
                </c:pt>
                <c:pt idx="192">
                  <c:v>888.09405777264192</c:v>
                </c:pt>
                <c:pt idx="193">
                  <c:v>880.14198676572357</c:v>
                </c:pt>
                <c:pt idx="194">
                  <c:v>872.86668775939393</c:v>
                </c:pt>
                <c:pt idx="195">
                  <c:v>866.09896775350603</c:v>
                </c:pt>
                <c:pt idx="196">
                  <c:v>859.16205474747096</c:v>
                </c:pt>
                <c:pt idx="197">
                  <c:v>851.71756274099437</c:v>
                </c:pt>
                <c:pt idx="198">
                  <c:v>844.10387773437026</c:v>
                </c:pt>
                <c:pt idx="199">
                  <c:v>836.82857872804084</c:v>
                </c:pt>
                <c:pt idx="200">
                  <c:v>830.06085872215294</c:v>
                </c:pt>
                <c:pt idx="201">
                  <c:v>823.29313871626493</c:v>
                </c:pt>
                <c:pt idx="202">
                  <c:v>816.35622571022986</c:v>
                </c:pt>
                <c:pt idx="203">
                  <c:v>809.25011970404762</c:v>
                </c:pt>
                <c:pt idx="204">
                  <c:v>802.14401369786538</c:v>
                </c:pt>
                <c:pt idx="205">
                  <c:v>795.37629369197737</c:v>
                </c:pt>
                <c:pt idx="206">
                  <c:v>788.77776668623665</c:v>
                </c:pt>
                <c:pt idx="207">
                  <c:v>782.17923968049593</c:v>
                </c:pt>
                <c:pt idx="208">
                  <c:v>775.74990567490238</c:v>
                </c:pt>
                <c:pt idx="209">
                  <c:v>769.15137866916166</c:v>
                </c:pt>
                <c:pt idx="210">
                  <c:v>762.72204466356823</c:v>
                </c:pt>
                <c:pt idx="211">
                  <c:v>756.46190365812186</c:v>
                </c:pt>
                <c:pt idx="212">
                  <c:v>750.03256965252831</c:v>
                </c:pt>
                <c:pt idx="213">
                  <c:v>743.77242864708194</c:v>
                </c:pt>
                <c:pt idx="214">
                  <c:v>737.51228764163568</c:v>
                </c:pt>
                <c:pt idx="215">
                  <c:v>731.25214663618931</c:v>
                </c:pt>
                <c:pt idx="216">
                  <c:v>725.16119863089023</c:v>
                </c:pt>
                <c:pt idx="217">
                  <c:v>719.07025062559114</c:v>
                </c:pt>
                <c:pt idx="218">
                  <c:v>712.97930262029195</c:v>
                </c:pt>
                <c:pt idx="219">
                  <c:v>707.05754761514004</c:v>
                </c:pt>
                <c:pt idx="220">
                  <c:v>701.3049856101353</c:v>
                </c:pt>
                <c:pt idx="221">
                  <c:v>695.55242360513068</c:v>
                </c:pt>
                <c:pt idx="222">
                  <c:v>689.799861600125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356-44D5-9D37-C4836F1D4B2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F$122:$F$344</c:f>
              <c:numCache>
                <c:formatCode>General</c:formatCode>
                <c:ptCount val="223"/>
                <c:pt idx="185" formatCode="0">
                  <c:v>944.77371282195315</c:v>
                </c:pt>
                <c:pt idx="186" formatCode="0">
                  <c:v>946.46564282342501</c:v>
                </c:pt>
                <c:pt idx="187" formatCode="0">
                  <c:v>949.0035378256332</c:v>
                </c:pt>
                <c:pt idx="188">
                  <c:v>953.57174882960749</c:v>
                </c:pt>
                <c:pt idx="189">
                  <c:v>962.20059183711464</c:v>
                </c:pt>
                <c:pt idx="190">
                  <c:v>972.69055784624072</c:v>
                </c:pt>
                <c:pt idx="191">
                  <c:v>983.85729585595584</c:v>
                </c:pt>
                <c:pt idx="192">
                  <c:v>992.14775286316853</c:v>
                </c:pt>
                <c:pt idx="193">
                  <c:v>999.93063086993971</c:v>
                </c:pt>
                <c:pt idx="194">
                  <c:v>1008.728666877594</c:v>
                </c:pt>
                <c:pt idx="195">
                  <c:v>1018.8802468864259</c:v>
                </c:pt>
                <c:pt idx="196">
                  <c:v>1029.5394058956992</c:v>
                </c:pt>
                <c:pt idx="197">
                  <c:v>1039.6909859045311</c:v>
                </c:pt>
                <c:pt idx="198">
                  <c:v>1049.3349869129213</c:v>
                </c:pt>
                <c:pt idx="199">
                  <c:v>1058.6406019210174</c:v>
                </c:pt>
                <c:pt idx="200">
                  <c:v>1068.4537959295549</c:v>
                </c:pt>
                <c:pt idx="201">
                  <c:v>1078.9437619386811</c:v>
                </c:pt>
                <c:pt idx="202">
                  <c:v>1089.7721139481018</c:v>
                </c:pt>
                <c:pt idx="203">
                  <c:v>1100.262079957228</c:v>
                </c:pt>
                <c:pt idx="204">
                  <c:v>1110.5828529662072</c:v>
                </c:pt>
                <c:pt idx="205">
                  <c:v>1120.9036259751861</c:v>
                </c:pt>
                <c:pt idx="206">
                  <c:v>1131.3935919843125</c:v>
                </c:pt>
                <c:pt idx="207">
                  <c:v>1142.3911369938803</c:v>
                </c:pt>
                <c:pt idx="208">
                  <c:v>1153.3886820034481</c:v>
                </c:pt>
                <c:pt idx="209">
                  <c:v>1164.2170340128687</c:v>
                </c:pt>
                <c:pt idx="210">
                  <c:v>1175.2145790224367</c:v>
                </c:pt>
                <c:pt idx="211">
                  <c:v>1186.2121240320046</c:v>
                </c:pt>
                <c:pt idx="212">
                  <c:v>1197.5480550418667</c:v>
                </c:pt>
                <c:pt idx="213">
                  <c:v>1209.0531790518762</c:v>
                </c:pt>
                <c:pt idx="214">
                  <c:v>1220.5583030618857</c:v>
                </c:pt>
                <c:pt idx="215">
                  <c:v>1232.0634270718951</c:v>
                </c:pt>
                <c:pt idx="216">
                  <c:v>1243.7377440820519</c:v>
                </c:pt>
                <c:pt idx="217">
                  <c:v>1255.4120610922087</c:v>
                </c:pt>
                <c:pt idx="218">
                  <c:v>1267.2555711025122</c:v>
                </c:pt>
                <c:pt idx="219">
                  <c:v>1279.2682741129636</c:v>
                </c:pt>
                <c:pt idx="220">
                  <c:v>1291.2809771234145</c:v>
                </c:pt>
                <c:pt idx="221">
                  <c:v>1303.4628731340126</c:v>
                </c:pt>
                <c:pt idx="222">
                  <c:v>1315.6447691446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9356-44D5-9D37-C4836F1D4B2F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G$122:$G$344</c:f>
              <c:numCache>
                <c:formatCode>General</c:formatCode>
                <c:ptCount val="223"/>
                <c:pt idx="185" formatCode="0">
                  <c:v>947.64999382445546</c:v>
                </c:pt>
                <c:pt idx="186" formatCode="0">
                  <c:v>953.91013482990172</c:v>
                </c:pt>
                <c:pt idx="187" formatCode="0">
                  <c:v>961.86220583682007</c:v>
                </c:pt>
                <c:pt idx="188">
                  <c:v>972.35217184594649</c:v>
                </c:pt>
                <c:pt idx="189">
                  <c:v>988.08712085963589</c:v>
                </c:pt>
                <c:pt idx="190">
                  <c:v>1007.2059298762691</c:v>
                </c:pt>
                <c:pt idx="191">
                  <c:v>1028.6934408949633</c:v>
                </c:pt>
                <c:pt idx="192">
                  <c:v>1046.1203199101246</c:v>
                </c:pt>
                <c:pt idx="193">
                  <c:v>1062.5320409244027</c:v>
                </c:pt>
                <c:pt idx="194">
                  <c:v>1080.2973059398587</c:v>
                </c:pt>
                <c:pt idx="195">
                  <c:v>1100.4312729573753</c:v>
                </c:pt>
                <c:pt idx="196">
                  <c:v>1121.580397975775</c:v>
                </c:pt>
                <c:pt idx="197">
                  <c:v>1142.5603299940276</c:v>
                </c:pt>
                <c:pt idx="198">
                  <c:v>1163.0326830118383</c:v>
                </c:pt>
                <c:pt idx="199">
                  <c:v>1182.8282640290606</c:v>
                </c:pt>
                <c:pt idx="200">
                  <c:v>1203.808196047313</c:v>
                </c:pt>
                <c:pt idx="201">
                  <c:v>1225.8032860664489</c:v>
                </c:pt>
                <c:pt idx="202">
                  <c:v>1248.4751480861735</c:v>
                </c:pt>
                <c:pt idx="203">
                  <c:v>1271.3162031060451</c:v>
                </c:pt>
                <c:pt idx="204">
                  <c:v>1293.8188721256224</c:v>
                </c:pt>
                <c:pt idx="205">
                  <c:v>1316.6599271454941</c:v>
                </c:pt>
                <c:pt idx="206">
                  <c:v>1340.3469471661019</c:v>
                </c:pt>
                <c:pt idx="207">
                  <c:v>1364.541546187151</c:v>
                </c:pt>
                <c:pt idx="208">
                  <c:v>1389.4129172087892</c:v>
                </c:pt>
                <c:pt idx="209">
                  <c:v>1414.6226742307217</c:v>
                </c:pt>
                <c:pt idx="210">
                  <c:v>1439.8324312526543</c:v>
                </c:pt>
                <c:pt idx="211">
                  <c:v>1465.5497672750282</c:v>
                </c:pt>
                <c:pt idx="212">
                  <c:v>1491.9438752979911</c:v>
                </c:pt>
                <c:pt idx="213">
                  <c:v>1518.8455623213956</c:v>
                </c:pt>
                <c:pt idx="214">
                  <c:v>1546.2548283452418</c:v>
                </c:pt>
                <c:pt idx="215">
                  <c:v>1574.0024803693821</c:v>
                </c:pt>
                <c:pt idx="216">
                  <c:v>1602.0885183938169</c:v>
                </c:pt>
                <c:pt idx="217">
                  <c:v>1630.6821354186936</c:v>
                </c:pt>
                <c:pt idx="218">
                  <c:v>1659.9525244441586</c:v>
                </c:pt>
                <c:pt idx="219">
                  <c:v>1689.7304924700654</c:v>
                </c:pt>
                <c:pt idx="220">
                  <c:v>1720.0160394964141</c:v>
                </c:pt>
                <c:pt idx="221">
                  <c:v>1750.8091655232038</c:v>
                </c:pt>
                <c:pt idx="222">
                  <c:v>1782.10987055043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9356-44D5-9D37-C4836F1D4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300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B$397:$B$497</c:f>
              <c:numCache>
                <c:formatCode>0</c:formatCode>
                <c:ptCount val="101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8</c:v>
                </c:pt>
                <c:pt idx="4">
                  <c:v>10</c:v>
                </c:pt>
                <c:pt idx="5">
                  <c:v>10</c:v>
                </c:pt>
                <c:pt idx="6">
                  <c:v>11</c:v>
                </c:pt>
                <c:pt idx="7">
                  <c:v>17</c:v>
                </c:pt>
                <c:pt idx="8">
                  <c:v>13</c:v>
                </c:pt>
                <c:pt idx="9">
                  <c:v>0</c:v>
                </c:pt>
                <c:pt idx="10">
                  <c:v>16</c:v>
                </c:pt>
                <c:pt idx="11">
                  <c:v>24</c:v>
                </c:pt>
                <c:pt idx="12">
                  <c:v>9</c:v>
                </c:pt>
                <c:pt idx="13">
                  <c:v>27</c:v>
                </c:pt>
                <c:pt idx="14">
                  <c:v>20</c:v>
                </c:pt>
                <c:pt idx="15">
                  <c:v>24</c:v>
                </c:pt>
                <c:pt idx="16">
                  <c:v>7</c:v>
                </c:pt>
                <c:pt idx="17">
                  <c:v>25</c:v>
                </c:pt>
                <c:pt idx="18">
                  <c:v>36</c:v>
                </c:pt>
                <c:pt idx="19">
                  <c:v>26</c:v>
                </c:pt>
                <c:pt idx="20">
                  <c:v>40</c:v>
                </c:pt>
                <c:pt idx="21">
                  <c:v>31</c:v>
                </c:pt>
                <c:pt idx="22">
                  <c:v>31</c:v>
                </c:pt>
                <c:pt idx="23">
                  <c:v>10</c:v>
                </c:pt>
                <c:pt idx="24">
                  <c:v>31</c:v>
                </c:pt>
                <c:pt idx="25">
                  <c:v>56</c:v>
                </c:pt>
                <c:pt idx="26">
                  <c:v>45</c:v>
                </c:pt>
                <c:pt idx="27">
                  <c:v>51</c:v>
                </c:pt>
                <c:pt idx="28">
                  <c:v>31</c:v>
                </c:pt>
                <c:pt idx="29">
                  <c:v>78</c:v>
                </c:pt>
                <c:pt idx="30">
                  <c:v>21</c:v>
                </c:pt>
                <c:pt idx="31">
                  <c:v>67</c:v>
                </c:pt>
                <c:pt idx="32">
                  <c:v>79</c:v>
                </c:pt>
                <c:pt idx="33">
                  <c:v>84</c:v>
                </c:pt>
                <c:pt idx="34">
                  <c:v>66</c:v>
                </c:pt>
                <c:pt idx="35">
                  <c:v>104</c:v>
                </c:pt>
                <c:pt idx="36">
                  <c:v>80</c:v>
                </c:pt>
                <c:pt idx="37">
                  <c:v>16</c:v>
                </c:pt>
                <c:pt idx="38">
                  <c:v>51</c:v>
                </c:pt>
                <c:pt idx="39">
                  <c:v>155</c:v>
                </c:pt>
                <c:pt idx="40">
                  <c:v>146</c:v>
                </c:pt>
                <c:pt idx="41">
                  <c:v>53</c:v>
                </c:pt>
                <c:pt idx="42">
                  <c:v>172</c:v>
                </c:pt>
                <c:pt idx="43">
                  <c:v>109</c:v>
                </c:pt>
                <c:pt idx="44">
                  <c:v>28</c:v>
                </c:pt>
                <c:pt idx="45">
                  <c:v>94</c:v>
                </c:pt>
                <c:pt idx="46">
                  <c:v>239</c:v>
                </c:pt>
                <c:pt idx="47">
                  <c:v>151</c:v>
                </c:pt>
                <c:pt idx="48">
                  <c:v>67</c:v>
                </c:pt>
                <c:pt idx="49">
                  <c:v>249</c:v>
                </c:pt>
                <c:pt idx="50">
                  <c:v>168</c:v>
                </c:pt>
                <c:pt idx="51">
                  <c:v>31</c:v>
                </c:pt>
                <c:pt idx="52">
                  <c:v>152</c:v>
                </c:pt>
                <c:pt idx="53">
                  <c:v>291</c:v>
                </c:pt>
                <c:pt idx="54">
                  <c:v>275</c:v>
                </c:pt>
                <c:pt idx="55">
                  <c:v>235</c:v>
                </c:pt>
                <c:pt idx="56">
                  <c:v>186</c:v>
                </c:pt>
                <c:pt idx="57">
                  <c:v>146</c:v>
                </c:pt>
                <c:pt idx="58">
                  <c:v>93</c:v>
                </c:pt>
                <c:pt idx="59">
                  <c:v>146</c:v>
                </c:pt>
                <c:pt idx="60">
                  <c:v>286</c:v>
                </c:pt>
                <c:pt idx="61">
                  <c:v>233</c:v>
                </c:pt>
                <c:pt idx="62">
                  <c:v>247</c:v>
                </c:pt>
                <c:pt idx="63">
                  <c:v>214</c:v>
                </c:pt>
                <c:pt idx="64">
                  <c:v>211</c:v>
                </c:pt>
                <c:pt idx="65">
                  <c:v>43</c:v>
                </c:pt>
                <c:pt idx="66">
                  <c:v>165</c:v>
                </c:pt>
                <c:pt idx="67">
                  <c:v>2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4D-492F-9EB6-DD67D53037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C$397:$C$497</c:f>
              <c:numCache>
                <c:formatCode>General</c:formatCode>
                <c:ptCount val="10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E4D-492F-9EB6-DD67D53037D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D$397:$D$497</c:f>
              <c:numCache>
                <c:formatCode>General</c:formatCode>
                <c:ptCount val="101"/>
                <c:pt idx="63">
                  <c:v>218</c:v>
                </c:pt>
                <c:pt idx="64">
                  <c:v>212</c:v>
                </c:pt>
                <c:pt idx="65">
                  <c:v>207</c:v>
                </c:pt>
                <c:pt idx="66">
                  <c:v>204</c:v>
                </c:pt>
                <c:pt idx="67">
                  <c:v>202</c:v>
                </c:pt>
                <c:pt idx="68">
                  <c:v>199</c:v>
                </c:pt>
                <c:pt idx="69">
                  <c:v>195</c:v>
                </c:pt>
                <c:pt idx="70">
                  <c:v>190</c:v>
                </c:pt>
                <c:pt idx="71">
                  <c:v>187</c:v>
                </c:pt>
                <c:pt idx="72">
                  <c:v>184</c:v>
                </c:pt>
                <c:pt idx="73">
                  <c:v>181</c:v>
                </c:pt>
                <c:pt idx="74">
                  <c:v>178</c:v>
                </c:pt>
                <c:pt idx="75">
                  <c:v>174</c:v>
                </c:pt>
                <c:pt idx="76">
                  <c:v>171</c:v>
                </c:pt>
                <c:pt idx="77">
                  <c:v>168</c:v>
                </c:pt>
                <c:pt idx="78">
                  <c:v>165</c:v>
                </c:pt>
                <c:pt idx="79">
                  <c:v>162</c:v>
                </c:pt>
                <c:pt idx="80">
                  <c:v>159</c:v>
                </c:pt>
                <c:pt idx="81">
                  <c:v>156</c:v>
                </c:pt>
                <c:pt idx="82">
                  <c:v>153</c:v>
                </c:pt>
                <c:pt idx="83">
                  <c:v>151</c:v>
                </c:pt>
                <c:pt idx="84">
                  <c:v>148</c:v>
                </c:pt>
                <c:pt idx="85">
                  <c:v>145</c:v>
                </c:pt>
                <c:pt idx="86">
                  <c:v>143</c:v>
                </c:pt>
                <c:pt idx="87">
                  <c:v>140</c:v>
                </c:pt>
                <c:pt idx="88">
                  <c:v>138</c:v>
                </c:pt>
                <c:pt idx="89">
                  <c:v>135</c:v>
                </c:pt>
                <c:pt idx="90">
                  <c:v>133</c:v>
                </c:pt>
                <c:pt idx="91">
                  <c:v>131</c:v>
                </c:pt>
                <c:pt idx="92">
                  <c:v>128</c:v>
                </c:pt>
                <c:pt idx="93">
                  <c:v>126</c:v>
                </c:pt>
                <c:pt idx="94">
                  <c:v>124</c:v>
                </c:pt>
                <c:pt idx="95">
                  <c:v>122</c:v>
                </c:pt>
                <c:pt idx="96">
                  <c:v>119</c:v>
                </c:pt>
                <c:pt idx="97">
                  <c:v>117</c:v>
                </c:pt>
                <c:pt idx="98">
                  <c:v>115</c:v>
                </c:pt>
                <c:pt idx="99">
                  <c:v>113</c:v>
                </c:pt>
                <c:pt idx="100">
                  <c:v>1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E4D-492F-9EB6-DD67D53037D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E$397:$E$497</c:f>
              <c:numCache>
                <c:formatCode>General</c:formatCode>
                <c:ptCount val="101"/>
                <c:pt idx="63">
                  <c:v>223</c:v>
                </c:pt>
                <c:pt idx="64">
                  <c:v>219</c:v>
                </c:pt>
                <c:pt idx="65">
                  <c:v>216</c:v>
                </c:pt>
                <c:pt idx="66">
                  <c:v>214</c:v>
                </c:pt>
                <c:pt idx="67">
                  <c:v>213</c:v>
                </c:pt>
                <c:pt idx="68">
                  <c:v>212</c:v>
                </c:pt>
                <c:pt idx="69">
                  <c:v>211</c:v>
                </c:pt>
                <c:pt idx="70">
                  <c:v>208</c:v>
                </c:pt>
                <c:pt idx="71">
                  <c:v>206</c:v>
                </c:pt>
                <c:pt idx="72">
                  <c:v>204</c:v>
                </c:pt>
                <c:pt idx="73">
                  <c:v>203</c:v>
                </c:pt>
                <c:pt idx="74">
                  <c:v>201</c:v>
                </c:pt>
                <c:pt idx="75">
                  <c:v>200</c:v>
                </c:pt>
                <c:pt idx="76">
                  <c:v>198</c:v>
                </c:pt>
                <c:pt idx="77">
                  <c:v>196</c:v>
                </c:pt>
                <c:pt idx="78">
                  <c:v>194</c:v>
                </c:pt>
                <c:pt idx="79">
                  <c:v>193</c:v>
                </c:pt>
                <c:pt idx="80">
                  <c:v>191</c:v>
                </c:pt>
                <c:pt idx="81">
                  <c:v>190</c:v>
                </c:pt>
                <c:pt idx="82">
                  <c:v>188</c:v>
                </c:pt>
                <c:pt idx="83">
                  <c:v>186</c:v>
                </c:pt>
                <c:pt idx="84">
                  <c:v>185</c:v>
                </c:pt>
                <c:pt idx="85">
                  <c:v>183</c:v>
                </c:pt>
                <c:pt idx="86">
                  <c:v>182</c:v>
                </c:pt>
                <c:pt idx="87">
                  <c:v>180</c:v>
                </c:pt>
                <c:pt idx="88">
                  <c:v>179</c:v>
                </c:pt>
                <c:pt idx="89">
                  <c:v>177</c:v>
                </c:pt>
                <c:pt idx="90">
                  <c:v>176</c:v>
                </c:pt>
                <c:pt idx="91">
                  <c:v>174</c:v>
                </c:pt>
                <c:pt idx="92">
                  <c:v>173</c:v>
                </c:pt>
                <c:pt idx="93">
                  <c:v>171</c:v>
                </c:pt>
                <c:pt idx="94">
                  <c:v>170</c:v>
                </c:pt>
                <c:pt idx="95">
                  <c:v>168</c:v>
                </c:pt>
                <c:pt idx="96">
                  <c:v>167</c:v>
                </c:pt>
                <c:pt idx="97">
                  <c:v>166</c:v>
                </c:pt>
                <c:pt idx="98">
                  <c:v>164</c:v>
                </c:pt>
                <c:pt idx="99">
                  <c:v>163</c:v>
                </c:pt>
                <c:pt idx="100">
                  <c:v>1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E4D-492F-9EB6-DD67D53037D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F$397:$F$497</c:f>
              <c:numCache>
                <c:formatCode>General</c:formatCode>
                <c:ptCount val="101"/>
                <c:pt idx="63">
                  <c:v>232</c:v>
                </c:pt>
                <c:pt idx="64">
                  <c:v>234</c:v>
                </c:pt>
                <c:pt idx="65">
                  <c:v>234</c:v>
                </c:pt>
                <c:pt idx="66">
                  <c:v>234</c:v>
                </c:pt>
                <c:pt idx="67">
                  <c:v>236</c:v>
                </c:pt>
                <c:pt idx="68">
                  <c:v>240</c:v>
                </c:pt>
                <c:pt idx="69">
                  <c:v>243</c:v>
                </c:pt>
                <c:pt idx="70">
                  <c:v>246</c:v>
                </c:pt>
                <c:pt idx="71">
                  <c:v>247</c:v>
                </c:pt>
                <c:pt idx="72">
                  <c:v>249</c:v>
                </c:pt>
                <c:pt idx="73">
                  <c:v>251</c:v>
                </c:pt>
                <c:pt idx="74">
                  <c:v>254</c:v>
                </c:pt>
                <c:pt idx="75">
                  <c:v>257</c:v>
                </c:pt>
                <c:pt idx="76">
                  <c:v>260</c:v>
                </c:pt>
                <c:pt idx="77">
                  <c:v>262</c:v>
                </c:pt>
                <c:pt idx="78">
                  <c:v>264</c:v>
                </c:pt>
                <c:pt idx="79">
                  <c:v>267</c:v>
                </c:pt>
                <c:pt idx="80">
                  <c:v>269</c:v>
                </c:pt>
                <c:pt idx="81">
                  <c:v>272</c:v>
                </c:pt>
                <c:pt idx="82">
                  <c:v>275</c:v>
                </c:pt>
                <c:pt idx="83">
                  <c:v>277</c:v>
                </c:pt>
                <c:pt idx="84">
                  <c:v>279</c:v>
                </c:pt>
                <c:pt idx="85">
                  <c:v>282</c:v>
                </c:pt>
                <c:pt idx="86">
                  <c:v>285</c:v>
                </c:pt>
                <c:pt idx="87">
                  <c:v>288</c:v>
                </c:pt>
                <c:pt idx="88">
                  <c:v>290</c:v>
                </c:pt>
                <c:pt idx="89">
                  <c:v>293</c:v>
                </c:pt>
                <c:pt idx="90">
                  <c:v>296</c:v>
                </c:pt>
                <c:pt idx="91">
                  <c:v>299</c:v>
                </c:pt>
                <c:pt idx="92">
                  <c:v>302</c:v>
                </c:pt>
                <c:pt idx="93">
                  <c:v>304</c:v>
                </c:pt>
                <c:pt idx="94">
                  <c:v>307</c:v>
                </c:pt>
                <c:pt idx="95">
                  <c:v>310</c:v>
                </c:pt>
                <c:pt idx="96">
                  <c:v>313</c:v>
                </c:pt>
                <c:pt idx="97">
                  <c:v>316</c:v>
                </c:pt>
                <c:pt idx="98">
                  <c:v>319</c:v>
                </c:pt>
                <c:pt idx="99">
                  <c:v>322</c:v>
                </c:pt>
                <c:pt idx="100">
                  <c:v>3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E4D-492F-9EB6-DD67D53037D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G$397:$G$497</c:f>
              <c:numCache>
                <c:formatCode>General</c:formatCode>
                <c:ptCount val="101"/>
                <c:pt idx="63">
                  <c:v>237</c:v>
                </c:pt>
                <c:pt idx="64">
                  <c:v>242</c:v>
                </c:pt>
                <c:pt idx="65">
                  <c:v>243</c:v>
                </c:pt>
                <c:pt idx="66">
                  <c:v>244</c:v>
                </c:pt>
                <c:pt idx="67">
                  <c:v>248</c:v>
                </c:pt>
                <c:pt idx="68">
                  <c:v>255</c:v>
                </c:pt>
                <c:pt idx="69">
                  <c:v>261</c:v>
                </c:pt>
                <c:pt idx="70">
                  <c:v>266</c:v>
                </c:pt>
                <c:pt idx="71">
                  <c:v>269</c:v>
                </c:pt>
                <c:pt idx="72">
                  <c:v>273</c:v>
                </c:pt>
                <c:pt idx="73">
                  <c:v>278</c:v>
                </c:pt>
                <c:pt idx="74">
                  <c:v>284</c:v>
                </c:pt>
                <c:pt idx="75">
                  <c:v>290</c:v>
                </c:pt>
                <c:pt idx="76">
                  <c:v>295</c:v>
                </c:pt>
                <c:pt idx="77">
                  <c:v>300</c:v>
                </c:pt>
                <c:pt idx="78">
                  <c:v>305</c:v>
                </c:pt>
                <c:pt idx="79">
                  <c:v>310</c:v>
                </c:pt>
                <c:pt idx="80">
                  <c:v>316</c:v>
                </c:pt>
                <c:pt idx="81">
                  <c:v>322</c:v>
                </c:pt>
                <c:pt idx="82">
                  <c:v>328</c:v>
                </c:pt>
                <c:pt idx="83">
                  <c:v>333</c:v>
                </c:pt>
                <c:pt idx="84">
                  <c:v>339</c:v>
                </c:pt>
                <c:pt idx="85">
                  <c:v>346</c:v>
                </c:pt>
                <c:pt idx="86">
                  <c:v>352</c:v>
                </c:pt>
                <c:pt idx="87">
                  <c:v>358</c:v>
                </c:pt>
                <c:pt idx="88">
                  <c:v>365</c:v>
                </c:pt>
                <c:pt idx="89">
                  <c:v>371</c:v>
                </c:pt>
                <c:pt idx="90">
                  <c:v>378</c:v>
                </c:pt>
                <c:pt idx="91">
                  <c:v>385</c:v>
                </c:pt>
                <c:pt idx="92">
                  <c:v>392</c:v>
                </c:pt>
                <c:pt idx="93">
                  <c:v>399</c:v>
                </c:pt>
                <c:pt idx="94">
                  <c:v>406</c:v>
                </c:pt>
                <c:pt idx="95">
                  <c:v>413</c:v>
                </c:pt>
                <c:pt idx="96">
                  <c:v>420</c:v>
                </c:pt>
                <c:pt idx="97">
                  <c:v>428</c:v>
                </c:pt>
                <c:pt idx="98">
                  <c:v>435</c:v>
                </c:pt>
                <c:pt idx="99">
                  <c:v>443</c:v>
                </c:pt>
                <c:pt idx="100">
                  <c:v>4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E4D-492F-9EB6-DD67D53037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4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H$122:$H$344</c:f>
              <c:numCache>
                <c:formatCode>0</c:formatCode>
                <c:ptCount val="22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  <c:pt idx="188" formatCode="General">
                  <c:v>100</c:v>
                </c:pt>
                <c:pt idx="189" formatCode="General">
                  <c:v>100</c:v>
                </c:pt>
                <c:pt idx="190" formatCode="General">
                  <c:v>100</c:v>
                </c:pt>
                <c:pt idx="191" formatCode="General">
                  <c:v>100</c:v>
                </c:pt>
                <c:pt idx="192" formatCode="General">
                  <c:v>100</c:v>
                </c:pt>
                <c:pt idx="193" formatCode="General">
                  <c:v>100</c:v>
                </c:pt>
                <c:pt idx="194" formatCode="General">
                  <c:v>100</c:v>
                </c:pt>
                <c:pt idx="195" formatCode="General">
                  <c:v>100</c:v>
                </c:pt>
                <c:pt idx="196" formatCode="General">
                  <c:v>100</c:v>
                </c:pt>
                <c:pt idx="197" formatCode="General">
                  <c:v>100</c:v>
                </c:pt>
                <c:pt idx="198" formatCode="General">
                  <c:v>100</c:v>
                </c:pt>
                <c:pt idx="199" formatCode="General">
                  <c:v>100</c:v>
                </c:pt>
                <c:pt idx="200" formatCode="General">
                  <c:v>100</c:v>
                </c:pt>
                <c:pt idx="201" formatCode="General">
                  <c:v>100</c:v>
                </c:pt>
                <c:pt idx="202" formatCode="General">
                  <c:v>100</c:v>
                </c:pt>
                <c:pt idx="203" formatCode="General">
                  <c:v>100</c:v>
                </c:pt>
                <c:pt idx="204" formatCode="General">
                  <c:v>100</c:v>
                </c:pt>
                <c:pt idx="205" formatCode="General">
                  <c:v>100</c:v>
                </c:pt>
                <c:pt idx="206" formatCode="General">
                  <c:v>100</c:v>
                </c:pt>
                <c:pt idx="207" formatCode="General">
                  <c:v>100</c:v>
                </c:pt>
                <c:pt idx="208" formatCode="General">
                  <c:v>100</c:v>
                </c:pt>
                <c:pt idx="209" formatCode="General">
                  <c:v>100</c:v>
                </c:pt>
                <c:pt idx="210" formatCode="General">
                  <c:v>100</c:v>
                </c:pt>
                <c:pt idx="211" formatCode="General">
                  <c:v>100</c:v>
                </c:pt>
                <c:pt idx="212" formatCode="General">
                  <c:v>100</c:v>
                </c:pt>
                <c:pt idx="213" formatCode="General">
                  <c:v>100</c:v>
                </c:pt>
                <c:pt idx="214" formatCode="General">
                  <c:v>100</c:v>
                </c:pt>
                <c:pt idx="215" formatCode="General">
                  <c:v>100</c:v>
                </c:pt>
                <c:pt idx="216" formatCode="General">
                  <c:v>100</c:v>
                </c:pt>
                <c:pt idx="217" formatCode="General">
                  <c:v>100</c:v>
                </c:pt>
                <c:pt idx="218" formatCode="General">
                  <c:v>100</c:v>
                </c:pt>
                <c:pt idx="219" formatCode="General">
                  <c:v>100</c:v>
                </c:pt>
                <c:pt idx="220" formatCode="General">
                  <c:v>100</c:v>
                </c:pt>
                <c:pt idx="221" formatCode="General">
                  <c:v>100</c:v>
                </c:pt>
                <c:pt idx="222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EC-4377-A703-66357AD7E0B3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I$122:$I$344</c:f>
              <c:numCache>
                <c:formatCode>0</c:formatCode>
                <c:ptCount val="22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  <c:pt idx="188" formatCode="General">
                  <c:v>50</c:v>
                </c:pt>
                <c:pt idx="189" formatCode="General">
                  <c:v>50</c:v>
                </c:pt>
                <c:pt idx="190" formatCode="General">
                  <c:v>50</c:v>
                </c:pt>
                <c:pt idx="191" formatCode="General">
                  <c:v>50</c:v>
                </c:pt>
                <c:pt idx="192" formatCode="General">
                  <c:v>50</c:v>
                </c:pt>
                <c:pt idx="193" formatCode="General">
                  <c:v>50</c:v>
                </c:pt>
                <c:pt idx="194" formatCode="General">
                  <c:v>50</c:v>
                </c:pt>
                <c:pt idx="195" formatCode="General">
                  <c:v>50</c:v>
                </c:pt>
                <c:pt idx="196" formatCode="General">
                  <c:v>50</c:v>
                </c:pt>
                <c:pt idx="197" formatCode="General">
                  <c:v>50</c:v>
                </c:pt>
                <c:pt idx="198" formatCode="General">
                  <c:v>50</c:v>
                </c:pt>
                <c:pt idx="199" formatCode="General">
                  <c:v>50</c:v>
                </c:pt>
                <c:pt idx="200" formatCode="General">
                  <c:v>50</c:v>
                </c:pt>
                <c:pt idx="201" formatCode="General">
                  <c:v>50</c:v>
                </c:pt>
                <c:pt idx="202" formatCode="General">
                  <c:v>50</c:v>
                </c:pt>
                <c:pt idx="203" formatCode="General">
                  <c:v>50</c:v>
                </c:pt>
                <c:pt idx="204" formatCode="General">
                  <c:v>50</c:v>
                </c:pt>
                <c:pt idx="205" formatCode="General">
                  <c:v>50</c:v>
                </c:pt>
                <c:pt idx="206" formatCode="General">
                  <c:v>50</c:v>
                </c:pt>
                <c:pt idx="207" formatCode="General">
                  <c:v>50</c:v>
                </c:pt>
                <c:pt idx="208" formatCode="General">
                  <c:v>50</c:v>
                </c:pt>
                <c:pt idx="209" formatCode="General">
                  <c:v>50</c:v>
                </c:pt>
                <c:pt idx="210" formatCode="General">
                  <c:v>50</c:v>
                </c:pt>
                <c:pt idx="211" formatCode="General">
                  <c:v>50</c:v>
                </c:pt>
                <c:pt idx="212" formatCode="General">
                  <c:v>50</c:v>
                </c:pt>
                <c:pt idx="213" formatCode="General">
                  <c:v>50</c:v>
                </c:pt>
                <c:pt idx="214" formatCode="General">
                  <c:v>50</c:v>
                </c:pt>
                <c:pt idx="215" formatCode="General">
                  <c:v>50</c:v>
                </c:pt>
                <c:pt idx="216" formatCode="General">
                  <c:v>50</c:v>
                </c:pt>
                <c:pt idx="217" formatCode="General">
                  <c:v>50</c:v>
                </c:pt>
                <c:pt idx="218" formatCode="General">
                  <c:v>50</c:v>
                </c:pt>
                <c:pt idx="219" formatCode="General">
                  <c:v>50</c:v>
                </c:pt>
                <c:pt idx="220" formatCode="General">
                  <c:v>50</c:v>
                </c:pt>
                <c:pt idx="221" formatCode="General">
                  <c:v>50</c:v>
                </c:pt>
                <c:pt idx="222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EC-4377-A703-66357AD7E0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B$122:$B$344</c:f>
              <c:numCache>
                <c:formatCode>0</c:formatCode>
                <c:ptCount val="223"/>
                <c:pt idx="0">
                  <c:v>5.4549607754226743</c:v>
                </c:pt>
                <c:pt idx="1">
                  <c:v>5.4549607754226743</c:v>
                </c:pt>
                <c:pt idx="2">
                  <c:v>4.4321556300309233</c:v>
                </c:pt>
                <c:pt idx="3">
                  <c:v>2.7274803877113372</c:v>
                </c:pt>
                <c:pt idx="4">
                  <c:v>3.068415436175254</c:v>
                </c:pt>
                <c:pt idx="5">
                  <c:v>3.7502855331030882</c:v>
                </c:pt>
                <c:pt idx="6">
                  <c:v>5.4549607754226743</c:v>
                </c:pt>
                <c:pt idx="7">
                  <c:v>4.7730906784948397</c:v>
                </c:pt>
                <c:pt idx="8">
                  <c:v>5.114025726958757</c:v>
                </c:pt>
                <c:pt idx="9">
                  <c:v>6.4777659208144254</c:v>
                </c:pt>
                <c:pt idx="10">
                  <c:v>6.4777659208144254</c:v>
                </c:pt>
                <c:pt idx="11">
                  <c:v>6.1368308723505081</c:v>
                </c:pt>
                <c:pt idx="12">
                  <c:v>5.7958958238865907</c:v>
                </c:pt>
                <c:pt idx="13">
                  <c:v>4.091220581567006</c:v>
                </c:pt>
                <c:pt idx="14">
                  <c:v>5.114025726958757</c:v>
                </c:pt>
                <c:pt idx="15">
                  <c:v>4.091220581567006</c:v>
                </c:pt>
                <c:pt idx="16">
                  <c:v>2.7274803877113372</c:v>
                </c:pt>
                <c:pt idx="17">
                  <c:v>2.3865453392474199</c:v>
                </c:pt>
                <c:pt idx="18">
                  <c:v>2.3865453392474199</c:v>
                </c:pt>
                <c:pt idx="19">
                  <c:v>2.045610290783503</c:v>
                </c:pt>
                <c:pt idx="20">
                  <c:v>2.045610290783503</c:v>
                </c:pt>
                <c:pt idx="21">
                  <c:v>1.0228051453917515</c:v>
                </c:pt>
                <c:pt idx="22">
                  <c:v>1.0228051453917515</c:v>
                </c:pt>
                <c:pt idx="23">
                  <c:v>1.0228051453917515</c:v>
                </c:pt>
                <c:pt idx="24">
                  <c:v>0.68187009692783429</c:v>
                </c:pt>
                <c:pt idx="25">
                  <c:v>1.3637401938556686</c:v>
                </c:pt>
                <c:pt idx="26">
                  <c:v>1.3637401938556686</c:v>
                </c:pt>
                <c:pt idx="27">
                  <c:v>2.045610290783503</c:v>
                </c:pt>
                <c:pt idx="28">
                  <c:v>2.7274803877113372</c:v>
                </c:pt>
                <c:pt idx="29">
                  <c:v>3.068415436175254</c:v>
                </c:pt>
                <c:pt idx="30">
                  <c:v>3.068415436175254</c:v>
                </c:pt>
                <c:pt idx="31">
                  <c:v>4.091220581567006</c:v>
                </c:pt>
                <c:pt idx="32">
                  <c:v>4.4321556300309233</c:v>
                </c:pt>
                <c:pt idx="33">
                  <c:v>4.4321556300309233</c:v>
                </c:pt>
                <c:pt idx="34">
                  <c:v>3.7502855331030882</c:v>
                </c:pt>
                <c:pt idx="35">
                  <c:v>3.7502855331030882</c:v>
                </c:pt>
                <c:pt idx="36">
                  <c:v>3.7502855331030882</c:v>
                </c:pt>
                <c:pt idx="37">
                  <c:v>4.091220581567006</c:v>
                </c:pt>
                <c:pt idx="38">
                  <c:v>3.7502855331030882</c:v>
                </c:pt>
                <c:pt idx="39">
                  <c:v>3.068415436175254</c:v>
                </c:pt>
                <c:pt idx="40">
                  <c:v>3.068415436175254</c:v>
                </c:pt>
                <c:pt idx="41">
                  <c:v>3.7502855331030882</c:v>
                </c:pt>
                <c:pt idx="42">
                  <c:v>3.7502855331030882</c:v>
                </c:pt>
                <c:pt idx="43">
                  <c:v>3.7502855331030882</c:v>
                </c:pt>
                <c:pt idx="44">
                  <c:v>4.091220581567006</c:v>
                </c:pt>
                <c:pt idx="45">
                  <c:v>4.091220581567006</c:v>
                </c:pt>
                <c:pt idx="46">
                  <c:v>6.1368308723505081</c:v>
                </c:pt>
                <c:pt idx="47">
                  <c:v>6.8187009692783427</c:v>
                </c:pt>
                <c:pt idx="48">
                  <c:v>6.4777659208144254</c:v>
                </c:pt>
                <c:pt idx="49">
                  <c:v>7.1596360177422591</c:v>
                </c:pt>
                <c:pt idx="50">
                  <c:v>10.228051453917514</c:v>
                </c:pt>
                <c:pt idx="51">
                  <c:v>10.909921550845349</c:v>
                </c:pt>
                <c:pt idx="52">
                  <c:v>10.568986502381431</c:v>
                </c:pt>
                <c:pt idx="53">
                  <c:v>9.2052463085257639</c:v>
                </c:pt>
                <c:pt idx="54">
                  <c:v>8.8643112600618466</c:v>
                </c:pt>
                <c:pt idx="55">
                  <c:v>9.2052463085257639</c:v>
                </c:pt>
                <c:pt idx="56">
                  <c:v>8.8643112600618466</c:v>
                </c:pt>
                <c:pt idx="57">
                  <c:v>5.114025726958757</c:v>
                </c:pt>
                <c:pt idx="58">
                  <c:v>4.7730906784948397</c:v>
                </c:pt>
                <c:pt idx="59">
                  <c:v>4.7730906784948397</c:v>
                </c:pt>
                <c:pt idx="60">
                  <c:v>4.4321556300309233</c:v>
                </c:pt>
                <c:pt idx="61">
                  <c:v>4.091220581567006</c:v>
                </c:pt>
                <c:pt idx="62">
                  <c:v>3.068415436175254</c:v>
                </c:pt>
                <c:pt idx="63">
                  <c:v>3.068415436175254</c:v>
                </c:pt>
                <c:pt idx="64">
                  <c:v>3.4093504846391713</c:v>
                </c:pt>
                <c:pt idx="65">
                  <c:v>3.4093504846391713</c:v>
                </c:pt>
                <c:pt idx="66">
                  <c:v>3.7502855331030882</c:v>
                </c:pt>
                <c:pt idx="67">
                  <c:v>3.7502855331030882</c:v>
                </c:pt>
                <c:pt idx="68">
                  <c:v>3.7502855331030882</c:v>
                </c:pt>
                <c:pt idx="69">
                  <c:v>4.091220581567006</c:v>
                </c:pt>
                <c:pt idx="70">
                  <c:v>6.4777659208144254</c:v>
                </c:pt>
                <c:pt idx="71">
                  <c:v>9.2052463085257639</c:v>
                </c:pt>
                <c:pt idx="72">
                  <c:v>9.8871164054535967</c:v>
                </c:pt>
                <c:pt idx="73">
                  <c:v>11.250856599309266</c:v>
                </c:pt>
                <c:pt idx="74">
                  <c:v>11.932726696237099</c:v>
                </c:pt>
                <c:pt idx="75">
                  <c:v>11.932726696237099</c:v>
                </c:pt>
                <c:pt idx="76">
                  <c:v>11.932726696237099</c:v>
                </c:pt>
                <c:pt idx="77">
                  <c:v>12.273661744701016</c:v>
                </c:pt>
                <c:pt idx="78">
                  <c:v>11.250856599309266</c:v>
                </c:pt>
                <c:pt idx="79">
                  <c:v>10.228051453917514</c:v>
                </c:pt>
                <c:pt idx="80">
                  <c:v>10.909921550845349</c:v>
                </c:pt>
                <c:pt idx="81">
                  <c:v>11.250856599309266</c:v>
                </c:pt>
                <c:pt idx="82">
                  <c:v>11.250856599309266</c:v>
                </c:pt>
                <c:pt idx="83">
                  <c:v>13.296466890092768</c:v>
                </c:pt>
                <c:pt idx="84">
                  <c:v>12.955531841628851</c:v>
                </c:pt>
                <c:pt idx="85">
                  <c:v>12.273661744701016</c:v>
                </c:pt>
                <c:pt idx="86">
                  <c:v>12.273661744701016</c:v>
                </c:pt>
                <c:pt idx="87">
                  <c:v>11.932726696237099</c:v>
                </c:pt>
                <c:pt idx="88">
                  <c:v>11.250856599309266</c:v>
                </c:pt>
                <c:pt idx="89">
                  <c:v>12.273661744701016</c:v>
                </c:pt>
                <c:pt idx="90">
                  <c:v>14.660207083948436</c:v>
                </c:pt>
                <c:pt idx="91">
                  <c:v>16.705817374731939</c:v>
                </c:pt>
                <c:pt idx="92">
                  <c:v>20.115167859371113</c:v>
                </c:pt>
                <c:pt idx="93">
                  <c:v>27.274803877113371</c:v>
                </c:pt>
                <c:pt idx="94">
                  <c:v>29.320414167896871</c:v>
                </c:pt>
                <c:pt idx="95">
                  <c:v>32.729764652536048</c:v>
                </c:pt>
                <c:pt idx="96">
                  <c:v>32.729764652536048</c:v>
                </c:pt>
                <c:pt idx="97">
                  <c:v>33.752569797927798</c:v>
                </c:pt>
                <c:pt idx="98">
                  <c:v>39.207530573350475</c:v>
                </c:pt>
                <c:pt idx="99">
                  <c:v>42.616881057989644</c:v>
                </c:pt>
                <c:pt idx="100">
                  <c:v>43.298751154917476</c:v>
                </c:pt>
                <c:pt idx="101">
                  <c:v>45.344361445700976</c:v>
                </c:pt>
                <c:pt idx="102">
                  <c:v>48.071841833412321</c:v>
                </c:pt>
                <c:pt idx="103">
                  <c:v>48.753711930340145</c:v>
                </c:pt>
                <c:pt idx="104">
                  <c:v>47.730906784948395</c:v>
                </c:pt>
                <c:pt idx="105">
                  <c:v>40.571270767206137</c:v>
                </c:pt>
                <c:pt idx="106">
                  <c:v>41.935010961061806</c:v>
                </c:pt>
                <c:pt idx="107">
                  <c:v>39.548465621814387</c:v>
                </c:pt>
                <c:pt idx="108">
                  <c:v>36.139115137175217</c:v>
                </c:pt>
                <c:pt idx="109">
                  <c:v>31.366024458680378</c:v>
                </c:pt>
                <c:pt idx="110">
                  <c:v>31.706959507144294</c:v>
                </c:pt>
                <c:pt idx="111">
                  <c:v>28.979479119432956</c:v>
                </c:pt>
                <c:pt idx="112">
                  <c:v>31.025089410216456</c:v>
                </c:pt>
                <c:pt idx="113">
                  <c:v>26.592933780185536</c:v>
                </c:pt>
                <c:pt idx="114">
                  <c:v>23.524518344010282</c:v>
                </c:pt>
                <c:pt idx="115">
                  <c:v>22.160778150154613</c:v>
                </c:pt>
                <c:pt idx="116">
                  <c:v>23.524518344010282</c:v>
                </c:pt>
                <c:pt idx="117">
                  <c:v>21.478908053226778</c:v>
                </c:pt>
                <c:pt idx="118">
                  <c:v>21.478908053226778</c:v>
                </c:pt>
                <c:pt idx="119">
                  <c:v>19.433297762443278</c:v>
                </c:pt>
                <c:pt idx="120">
                  <c:v>15.683012229340189</c:v>
                </c:pt>
                <c:pt idx="121">
                  <c:v>14.660207083948436</c:v>
                </c:pt>
                <c:pt idx="122">
                  <c:v>13.978336987020604</c:v>
                </c:pt>
                <c:pt idx="123">
                  <c:v>11.250856599309266</c:v>
                </c:pt>
                <c:pt idx="124">
                  <c:v>12.273661744701016</c:v>
                </c:pt>
                <c:pt idx="125">
                  <c:v>12.955531841628851</c:v>
                </c:pt>
                <c:pt idx="126">
                  <c:v>12.614596793164933</c:v>
                </c:pt>
                <c:pt idx="127">
                  <c:v>14.660207083948436</c:v>
                </c:pt>
                <c:pt idx="128">
                  <c:v>16.364882326268024</c:v>
                </c:pt>
                <c:pt idx="129">
                  <c:v>21.137973004762863</c:v>
                </c:pt>
                <c:pt idx="130">
                  <c:v>24.547323489402032</c:v>
                </c:pt>
                <c:pt idx="131">
                  <c:v>23.524518344010282</c:v>
                </c:pt>
                <c:pt idx="132">
                  <c:v>26.251998731721621</c:v>
                </c:pt>
                <c:pt idx="133">
                  <c:v>31.025089410216456</c:v>
                </c:pt>
                <c:pt idx="134">
                  <c:v>30.684154361752544</c:v>
                </c:pt>
                <c:pt idx="135">
                  <c:v>36.139115137175217</c:v>
                </c:pt>
                <c:pt idx="136">
                  <c:v>37.161920282566967</c:v>
                </c:pt>
                <c:pt idx="137">
                  <c:v>40.912205815670056</c:v>
                </c:pt>
                <c:pt idx="138">
                  <c:v>43.298751154917476</c:v>
                </c:pt>
                <c:pt idx="139">
                  <c:v>46.367166591092726</c:v>
                </c:pt>
                <c:pt idx="140">
                  <c:v>50.458387172659734</c:v>
                </c:pt>
                <c:pt idx="141">
                  <c:v>56.25428299654633</c:v>
                </c:pt>
                <c:pt idx="142">
                  <c:v>60.686438626577257</c:v>
                </c:pt>
                <c:pt idx="143">
                  <c:v>64.436724159680338</c:v>
                </c:pt>
                <c:pt idx="144">
                  <c:v>66.823269498927758</c:v>
                </c:pt>
                <c:pt idx="145">
                  <c:v>67.846074644319515</c:v>
                </c:pt>
                <c:pt idx="146">
                  <c:v>69.891684935103015</c:v>
                </c:pt>
                <c:pt idx="147">
                  <c:v>76.710385904381354</c:v>
                </c:pt>
                <c:pt idx="148">
                  <c:v>83.188151825195789</c:v>
                </c:pt>
                <c:pt idx="149">
                  <c:v>86.93843735829887</c:v>
                </c:pt>
                <c:pt idx="150">
                  <c:v>86.93843735829887</c:v>
                </c:pt>
                <c:pt idx="151">
                  <c:v>102.96238463610298</c:v>
                </c:pt>
                <c:pt idx="152">
                  <c:v>106.71267016920606</c:v>
                </c:pt>
                <c:pt idx="153">
                  <c:v>118.98633191390708</c:v>
                </c:pt>
                <c:pt idx="154">
                  <c:v>126.82783802857718</c:v>
                </c:pt>
                <c:pt idx="155">
                  <c:v>140.12430491866994</c:v>
                </c:pt>
                <c:pt idx="156">
                  <c:v>145.23833064562871</c:v>
                </c:pt>
                <c:pt idx="157">
                  <c:v>170.12658918349467</c:v>
                </c:pt>
                <c:pt idx="158">
                  <c:v>170.80845928042248</c:v>
                </c:pt>
                <c:pt idx="159">
                  <c:v>169.1037840381029</c:v>
                </c:pt>
                <c:pt idx="160">
                  <c:v>163.64882326268022</c:v>
                </c:pt>
                <c:pt idx="161">
                  <c:v>189.55988694593793</c:v>
                </c:pt>
                <c:pt idx="162">
                  <c:v>210.6978599507008</c:v>
                </c:pt>
                <c:pt idx="163">
                  <c:v>206.26570432066984</c:v>
                </c:pt>
                <c:pt idx="164">
                  <c:v>229.44928761621622</c:v>
                </c:pt>
                <c:pt idx="165">
                  <c:v>239.33640402166984</c:v>
                </c:pt>
                <c:pt idx="166">
                  <c:v>243.42762460323684</c:v>
                </c:pt>
                <c:pt idx="167">
                  <c:v>258.08783168718526</c:v>
                </c:pt>
                <c:pt idx="168">
                  <c:v>286.72637575815429</c:v>
                </c:pt>
                <c:pt idx="169">
                  <c:v>288.43105100047393</c:v>
                </c:pt>
                <c:pt idx="170">
                  <c:v>293.20414167896871</c:v>
                </c:pt>
                <c:pt idx="171">
                  <c:v>319.45614041069035</c:v>
                </c:pt>
                <c:pt idx="172">
                  <c:v>339.57130827006148</c:v>
                </c:pt>
                <c:pt idx="173">
                  <c:v>340.59411341545319</c:v>
                </c:pt>
                <c:pt idx="174">
                  <c:v>360.36834622636042</c:v>
                </c:pt>
                <c:pt idx="175">
                  <c:v>378.09696874648409</c:v>
                </c:pt>
                <c:pt idx="176">
                  <c:v>420.37291475600983</c:v>
                </c:pt>
                <c:pt idx="177">
                  <c:v>477.6500028979479</c:v>
                </c:pt>
                <c:pt idx="178">
                  <c:v>456.17109484472115</c:v>
                </c:pt>
                <c:pt idx="179">
                  <c:v>448.67052377851496</c:v>
                </c:pt>
                <c:pt idx="180">
                  <c:v>469.8084967832778</c:v>
                </c:pt>
                <c:pt idx="181">
                  <c:v>467.76288649249432</c:v>
                </c:pt>
                <c:pt idx="182">
                  <c:v>466.05821125017474</c:v>
                </c:pt>
                <c:pt idx="183">
                  <c:v>451.73893921469016</c:v>
                </c:pt>
                <c:pt idx="184">
                  <c:v>455.83015979625725</c:v>
                </c:pt>
                <c:pt idx="185">
                  <c:v>465.37634115324687</c:v>
                </c:pt>
                <c:pt idx="186">
                  <c:v>487.53711930340148</c:v>
                </c:pt>
                <c:pt idx="187">
                  <c:v>470.49036688020561</c:v>
                </c:pt>
                <c:pt idx="188">
                  <c:v>476.96813280102009</c:v>
                </c:pt>
                <c:pt idx="189">
                  <c:v>460.603250474752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7EC-4377-A703-66357AD7E0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C$122:$C$344</c:f>
              <c:numCache>
                <c:formatCode>General</c:formatCode>
                <c:ptCount val="22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7EC-4377-A703-66357AD7E0B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D$122:$D$344</c:f>
              <c:numCache>
                <c:formatCode>General</c:formatCode>
                <c:ptCount val="223"/>
                <c:pt idx="185" formatCode="0">
                  <c:v>466.74008134710255</c:v>
                </c:pt>
                <c:pt idx="186" formatCode="0">
                  <c:v>460.94418552321599</c:v>
                </c:pt>
                <c:pt idx="187" formatCode="0">
                  <c:v>454.12548455393761</c:v>
                </c:pt>
                <c:pt idx="188">
                  <c:v>447.64771863312319</c:v>
                </c:pt>
                <c:pt idx="189">
                  <c:v>441.51088776077268</c:v>
                </c:pt>
                <c:pt idx="190">
                  <c:v>434.35125174303045</c:v>
                </c:pt>
                <c:pt idx="191">
                  <c:v>425.82787553143248</c:v>
                </c:pt>
                <c:pt idx="192">
                  <c:v>417.98636941676244</c:v>
                </c:pt>
                <c:pt idx="193">
                  <c:v>410.48579835055625</c:v>
                </c:pt>
                <c:pt idx="194">
                  <c:v>403.66709738127787</c:v>
                </c:pt>
                <c:pt idx="195">
                  <c:v>396.50746136353558</c:v>
                </c:pt>
                <c:pt idx="196">
                  <c:v>389.68876039425732</c:v>
                </c:pt>
                <c:pt idx="197">
                  <c:v>382.52912437651503</c:v>
                </c:pt>
                <c:pt idx="198">
                  <c:v>375.3694883587728</c:v>
                </c:pt>
                <c:pt idx="199">
                  <c:v>368.55078738949442</c:v>
                </c:pt>
                <c:pt idx="200">
                  <c:v>362.41395651714396</c:v>
                </c:pt>
                <c:pt idx="201">
                  <c:v>355.93619059632948</c:v>
                </c:pt>
                <c:pt idx="202">
                  <c:v>349.79935972397897</c:v>
                </c:pt>
                <c:pt idx="203">
                  <c:v>343.32159380316455</c:v>
                </c:pt>
                <c:pt idx="204">
                  <c:v>337.18476293081409</c:v>
                </c:pt>
                <c:pt idx="205">
                  <c:v>331.04793205846357</c:v>
                </c:pt>
                <c:pt idx="206">
                  <c:v>325.25203623457691</c:v>
                </c:pt>
                <c:pt idx="207">
                  <c:v>319.45614041069035</c:v>
                </c:pt>
                <c:pt idx="208">
                  <c:v>313.6602445868038</c:v>
                </c:pt>
                <c:pt idx="209">
                  <c:v>307.86434876291719</c:v>
                </c:pt>
                <c:pt idx="210">
                  <c:v>302.40938798749448</c:v>
                </c:pt>
                <c:pt idx="211">
                  <c:v>296.95442721207183</c:v>
                </c:pt>
                <c:pt idx="212">
                  <c:v>291.84040148511303</c:v>
                </c:pt>
                <c:pt idx="213">
                  <c:v>286.72637575815429</c:v>
                </c:pt>
                <c:pt idx="214">
                  <c:v>281.61235003119555</c:v>
                </c:pt>
                <c:pt idx="215">
                  <c:v>276.83925935270071</c:v>
                </c:pt>
                <c:pt idx="216">
                  <c:v>272.06616867420587</c:v>
                </c:pt>
                <c:pt idx="217">
                  <c:v>267.29307799571103</c:v>
                </c:pt>
                <c:pt idx="218">
                  <c:v>262.51998731721619</c:v>
                </c:pt>
                <c:pt idx="219">
                  <c:v>257.74689663872135</c:v>
                </c:pt>
                <c:pt idx="220">
                  <c:v>252.97380596022651</c:v>
                </c:pt>
                <c:pt idx="221">
                  <c:v>248.54165033019561</c:v>
                </c:pt>
                <c:pt idx="222">
                  <c:v>244.109494700164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EC-4377-A703-66357AD7E0B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E$122:$E$344</c:f>
              <c:numCache>
                <c:formatCode>General</c:formatCode>
                <c:ptCount val="223"/>
                <c:pt idx="185" formatCode="0">
                  <c:v>468.44475658942218</c:v>
                </c:pt>
                <c:pt idx="186" formatCode="0">
                  <c:v>465.03540610478296</c:v>
                </c:pt>
                <c:pt idx="187" formatCode="0">
                  <c:v>460.94418552321599</c:v>
                </c:pt>
                <c:pt idx="188">
                  <c:v>457.53483503857683</c:v>
                </c:pt>
                <c:pt idx="189">
                  <c:v>455.14828969932938</c:v>
                </c:pt>
                <c:pt idx="190">
                  <c:v>452.07987426315418</c:v>
                </c:pt>
                <c:pt idx="191">
                  <c:v>447.9886536815871</c:v>
                </c:pt>
                <c:pt idx="192">
                  <c:v>443.55649805155622</c:v>
                </c:pt>
                <c:pt idx="193">
                  <c:v>439.46527746998919</c:v>
                </c:pt>
                <c:pt idx="194">
                  <c:v>436.05592698535008</c:v>
                </c:pt>
                <c:pt idx="195">
                  <c:v>432.64657650071086</c:v>
                </c:pt>
                <c:pt idx="196">
                  <c:v>428.8962909676078</c:v>
                </c:pt>
                <c:pt idx="197">
                  <c:v>425.14600543450467</c:v>
                </c:pt>
                <c:pt idx="198">
                  <c:v>421.39571990140161</c:v>
                </c:pt>
                <c:pt idx="199">
                  <c:v>417.98636941676244</c:v>
                </c:pt>
                <c:pt idx="200">
                  <c:v>414.57701893212322</c:v>
                </c:pt>
                <c:pt idx="201">
                  <c:v>411.16766844748406</c:v>
                </c:pt>
                <c:pt idx="202">
                  <c:v>407.41738291438094</c:v>
                </c:pt>
                <c:pt idx="203">
                  <c:v>404.00803242974183</c:v>
                </c:pt>
                <c:pt idx="204">
                  <c:v>400.59868194510267</c:v>
                </c:pt>
                <c:pt idx="205">
                  <c:v>397.18933146046345</c:v>
                </c:pt>
                <c:pt idx="206">
                  <c:v>393.77998097582429</c:v>
                </c:pt>
                <c:pt idx="207">
                  <c:v>390.71156553964909</c:v>
                </c:pt>
                <c:pt idx="208">
                  <c:v>387.30221505500987</c:v>
                </c:pt>
                <c:pt idx="209">
                  <c:v>384.23379961883461</c:v>
                </c:pt>
                <c:pt idx="210">
                  <c:v>381.16538418265935</c:v>
                </c:pt>
                <c:pt idx="211">
                  <c:v>377.75603369802019</c:v>
                </c:pt>
                <c:pt idx="212">
                  <c:v>374.68761826184493</c:v>
                </c:pt>
                <c:pt idx="213">
                  <c:v>371.61920282566967</c:v>
                </c:pt>
                <c:pt idx="214">
                  <c:v>368.20985234103051</c:v>
                </c:pt>
                <c:pt idx="215">
                  <c:v>365.14143690485525</c:v>
                </c:pt>
                <c:pt idx="216">
                  <c:v>362.07302146868</c:v>
                </c:pt>
                <c:pt idx="217">
                  <c:v>359.00460603250474</c:v>
                </c:pt>
                <c:pt idx="218">
                  <c:v>355.93619059632948</c:v>
                </c:pt>
                <c:pt idx="219">
                  <c:v>352.86777516015422</c:v>
                </c:pt>
                <c:pt idx="220">
                  <c:v>349.79935972397897</c:v>
                </c:pt>
                <c:pt idx="221">
                  <c:v>347.07187933626767</c:v>
                </c:pt>
                <c:pt idx="222">
                  <c:v>344.344398948556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7EC-4377-A703-66357AD7E0B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F$122:$F$344</c:f>
              <c:numCache>
                <c:formatCode>General</c:formatCode>
                <c:ptCount val="223"/>
                <c:pt idx="185" formatCode="0">
                  <c:v>471.17223697713348</c:v>
                </c:pt>
                <c:pt idx="186" formatCode="0">
                  <c:v>472.19504212252525</c:v>
                </c:pt>
                <c:pt idx="187" formatCode="0">
                  <c:v>473.55878231638093</c:v>
                </c:pt>
                <c:pt idx="188">
                  <c:v>475.94532765562832</c:v>
                </c:pt>
                <c:pt idx="189">
                  <c:v>480.3774832856592</c:v>
                </c:pt>
                <c:pt idx="190">
                  <c:v>485.49150901261805</c:v>
                </c:pt>
                <c:pt idx="191">
                  <c:v>491.28740483650455</c:v>
                </c:pt>
                <c:pt idx="192">
                  <c:v>495.37862541807164</c:v>
                </c:pt>
                <c:pt idx="193">
                  <c:v>499.1289109511747</c:v>
                </c:pt>
                <c:pt idx="194">
                  <c:v>503.56106658120558</c:v>
                </c:pt>
                <c:pt idx="195">
                  <c:v>508.67509230816432</c:v>
                </c:pt>
                <c:pt idx="196">
                  <c:v>514.13005308358709</c:v>
                </c:pt>
                <c:pt idx="197">
                  <c:v>519.24407881054583</c:v>
                </c:pt>
                <c:pt idx="198">
                  <c:v>524.01716948904061</c:v>
                </c:pt>
                <c:pt idx="199">
                  <c:v>528.79026016753551</c:v>
                </c:pt>
                <c:pt idx="200">
                  <c:v>533.90428589449425</c:v>
                </c:pt>
                <c:pt idx="201">
                  <c:v>539.01831162145299</c:v>
                </c:pt>
                <c:pt idx="202">
                  <c:v>544.13233734841174</c:v>
                </c:pt>
                <c:pt idx="203">
                  <c:v>549.24636307537048</c:v>
                </c:pt>
                <c:pt idx="204">
                  <c:v>554.36038880232923</c:v>
                </c:pt>
                <c:pt idx="205">
                  <c:v>559.47441452928808</c:v>
                </c:pt>
                <c:pt idx="206">
                  <c:v>564.58844025624683</c:v>
                </c:pt>
                <c:pt idx="207">
                  <c:v>570.04340103166942</c:v>
                </c:pt>
                <c:pt idx="208">
                  <c:v>575.49836180709212</c:v>
                </c:pt>
                <c:pt idx="209">
                  <c:v>581.29425763097868</c:v>
                </c:pt>
                <c:pt idx="210">
                  <c:v>586.74921840640138</c:v>
                </c:pt>
                <c:pt idx="211">
                  <c:v>592.20417918182409</c:v>
                </c:pt>
                <c:pt idx="212">
                  <c:v>598.00007500571064</c:v>
                </c:pt>
                <c:pt idx="213">
                  <c:v>603.79597082959731</c:v>
                </c:pt>
                <c:pt idx="214">
                  <c:v>609.59186665348386</c:v>
                </c:pt>
                <c:pt idx="215">
                  <c:v>615.38776247737042</c:v>
                </c:pt>
                <c:pt idx="216">
                  <c:v>621.18365830125708</c:v>
                </c:pt>
                <c:pt idx="217">
                  <c:v>626.97955412514364</c:v>
                </c:pt>
                <c:pt idx="218">
                  <c:v>633.11638499749415</c:v>
                </c:pt>
                <c:pt idx="219">
                  <c:v>638.9122808213807</c:v>
                </c:pt>
                <c:pt idx="220">
                  <c:v>645.04911169373122</c:v>
                </c:pt>
                <c:pt idx="221">
                  <c:v>650.84500751761789</c:v>
                </c:pt>
                <c:pt idx="222">
                  <c:v>656.98183838996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7EC-4377-A703-66357AD7E0B3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G$122:$G$344</c:f>
              <c:numCache>
                <c:formatCode>General</c:formatCode>
                <c:ptCount val="223"/>
                <c:pt idx="185" formatCode="0">
                  <c:v>472.53597717098916</c:v>
                </c:pt>
                <c:pt idx="186" formatCode="0">
                  <c:v>475.60439260716447</c:v>
                </c:pt>
                <c:pt idx="187" formatCode="0">
                  <c:v>479.69561318873144</c:v>
                </c:pt>
                <c:pt idx="188">
                  <c:v>485.15057396415403</c:v>
                </c:pt>
                <c:pt idx="189">
                  <c:v>492.99208007882419</c:v>
                </c:pt>
                <c:pt idx="190">
                  <c:v>502.53826143581381</c:v>
                </c:pt>
                <c:pt idx="191">
                  <c:v>513.44818298665916</c:v>
                </c:pt>
                <c:pt idx="192">
                  <c:v>522.31249424672103</c:v>
                </c:pt>
                <c:pt idx="193">
                  <c:v>530.83587045831894</c:v>
                </c:pt>
                <c:pt idx="194">
                  <c:v>539.70018171838092</c:v>
                </c:pt>
                <c:pt idx="195">
                  <c:v>549.58729812383444</c:v>
                </c:pt>
                <c:pt idx="196">
                  <c:v>560.15628462621589</c:v>
                </c:pt>
                <c:pt idx="197">
                  <c:v>570.38433608013338</c:v>
                </c:pt>
                <c:pt idx="198">
                  <c:v>580.61238753405087</c:v>
                </c:pt>
                <c:pt idx="199">
                  <c:v>590.49950393950451</c:v>
                </c:pt>
                <c:pt idx="200">
                  <c:v>600.72755539342199</c:v>
                </c:pt>
                <c:pt idx="201">
                  <c:v>611.63747694426741</c:v>
                </c:pt>
                <c:pt idx="202">
                  <c:v>622.88833354357666</c:v>
                </c:pt>
                <c:pt idx="203">
                  <c:v>634.48012519134977</c:v>
                </c:pt>
                <c:pt idx="204">
                  <c:v>645.73098179065914</c:v>
                </c:pt>
                <c:pt idx="205">
                  <c:v>656.9818383899684</c:v>
                </c:pt>
                <c:pt idx="206">
                  <c:v>668.57363003774151</c:v>
                </c:pt>
                <c:pt idx="207">
                  <c:v>680.84729178244254</c:v>
                </c:pt>
                <c:pt idx="208">
                  <c:v>693.12095352714357</c:v>
                </c:pt>
                <c:pt idx="209">
                  <c:v>705.73555032030845</c:v>
                </c:pt>
                <c:pt idx="210">
                  <c:v>718.35014711347333</c:v>
                </c:pt>
                <c:pt idx="211">
                  <c:v>731.30567895510228</c:v>
                </c:pt>
                <c:pt idx="212">
                  <c:v>744.60214584519508</c:v>
                </c:pt>
                <c:pt idx="213">
                  <c:v>758.23954778375173</c:v>
                </c:pt>
                <c:pt idx="214">
                  <c:v>771.87694972230838</c:v>
                </c:pt>
                <c:pt idx="215">
                  <c:v>785.85528670932911</c:v>
                </c:pt>
                <c:pt idx="216">
                  <c:v>799.8336236963496</c:v>
                </c:pt>
                <c:pt idx="217">
                  <c:v>813.81196068337022</c:v>
                </c:pt>
                <c:pt idx="218">
                  <c:v>828.47216776731864</c:v>
                </c:pt>
                <c:pt idx="219">
                  <c:v>843.13237485126717</c:v>
                </c:pt>
                <c:pt idx="220">
                  <c:v>858.13351698367944</c:v>
                </c:pt>
                <c:pt idx="221">
                  <c:v>873.47559416455567</c:v>
                </c:pt>
                <c:pt idx="222">
                  <c:v>889.158606393895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E7EC-4377-A703-66357AD7E0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B$397:$B$497</c:f>
              <c:numCache>
                <c:formatCode>0</c:formatCode>
                <c:ptCount val="101"/>
                <c:pt idx="0">
                  <c:v>43</c:v>
                </c:pt>
                <c:pt idx="1">
                  <c:v>36</c:v>
                </c:pt>
                <c:pt idx="2">
                  <c:v>16</c:v>
                </c:pt>
                <c:pt idx="3">
                  <c:v>41</c:v>
                </c:pt>
                <c:pt idx="4">
                  <c:v>43</c:v>
                </c:pt>
                <c:pt idx="5">
                  <c:v>51</c:v>
                </c:pt>
                <c:pt idx="6">
                  <c:v>38</c:v>
                </c:pt>
                <c:pt idx="7">
                  <c:v>40</c:v>
                </c:pt>
                <c:pt idx="8">
                  <c:v>29</c:v>
                </c:pt>
                <c:pt idx="9">
                  <c:v>25</c:v>
                </c:pt>
                <c:pt idx="10">
                  <c:v>71</c:v>
                </c:pt>
                <c:pt idx="11">
                  <c:v>58</c:v>
                </c:pt>
                <c:pt idx="12">
                  <c:v>52</c:v>
                </c:pt>
                <c:pt idx="13">
                  <c:v>64</c:v>
                </c:pt>
                <c:pt idx="14">
                  <c:v>64</c:v>
                </c:pt>
                <c:pt idx="15">
                  <c:v>43</c:v>
                </c:pt>
                <c:pt idx="16">
                  <c:v>25</c:v>
                </c:pt>
                <c:pt idx="17">
                  <c:v>99</c:v>
                </c:pt>
                <c:pt idx="18">
                  <c:v>130</c:v>
                </c:pt>
                <c:pt idx="19">
                  <c:v>118</c:v>
                </c:pt>
                <c:pt idx="20">
                  <c:v>114</c:v>
                </c:pt>
                <c:pt idx="21">
                  <c:v>122</c:v>
                </c:pt>
                <c:pt idx="22">
                  <c:v>127</c:v>
                </c:pt>
                <c:pt idx="23">
                  <c:v>77</c:v>
                </c:pt>
                <c:pt idx="24">
                  <c:v>167</c:v>
                </c:pt>
                <c:pt idx="25">
                  <c:v>226</c:v>
                </c:pt>
                <c:pt idx="26">
                  <c:v>207</c:v>
                </c:pt>
                <c:pt idx="27">
                  <c:v>210</c:v>
                </c:pt>
                <c:pt idx="28">
                  <c:v>171</c:v>
                </c:pt>
                <c:pt idx="29">
                  <c:v>286</c:v>
                </c:pt>
                <c:pt idx="30">
                  <c:v>125</c:v>
                </c:pt>
                <c:pt idx="31">
                  <c:v>232</c:v>
                </c:pt>
                <c:pt idx="32">
                  <c:v>384</c:v>
                </c:pt>
                <c:pt idx="33">
                  <c:v>341</c:v>
                </c:pt>
                <c:pt idx="34">
                  <c:v>429</c:v>
                </c:pt>
                <c:pt idx="35">
                  <c:v>378</c:v>
                </c:pt>
                <c:pt idx="36">
                  <c:v>267</c:v>
                </c:pt>
                <c:pt idx="37">
                  <c:v>139</c:v>
                </c:pt>
                <c:pt idx="38">
                  <c:v>447</c:v>
                </c:pt>
                <c:pt idx="39">
                  <c:v>651</c:v>
                </c:pt>
                <c:pt idx="40">
                  <c:v>616</c:v>
                </c:pt>
                <c:pt idx="41">
                  <c:v>469</c:v>
                </c:pt>
                <c:pt idx="42">
                  <c:v>705</c:v>
                </c:pt>
                <c:pt idx="43">
                  <c:v>547</c:v>
                </c:pt>
                <c:pt idx="44">
                  <c:v>281</c:v>
                </c:pt>
                <c:pt idx="45">
                  <c:v>615</c:v>
                </c:pt>
                <c:pt idx="46">
                  <c:v>1050</c:v>
                </c:pt>
                <c:pt idx="47">
                  <c:v>727</c:v>
                </c:pt>
                <c:pt idx="48">
                  <c:v>717</c:v>
                </c:pt>
                <c:pt idx="49">
                  <c:v>1193</c:v>
                </c:pt>
                <c:pt idx="50">
                  <c:v>955</c:v>
                </c:pt>
                <c:pt idx="51">
                  <c:v>389</c:v>
                </c:pt>
                <c:pt idx="52">
                  <c:v>938</c:v>
                </c:pt>
                <c:pt idx="53">
                  <c:v>1596</c:v>
                </c:pt>
                <c:pt idx="54">
                  <c:v>1069</c:v>
                </c:pt>
                <c:pt idx="55">
                  <c:v>1582</c:v>
                </c:pt>
                <c:pt idx="56">
                  <c:v>1003</c:v>
                </c:pt>
                <c:pt idx="57">
                  <c:v>852</c:v>
                </c:pt>
                <c:pt idx="58">
                  <c:v>521</c:v>
                </c:pt>
                <c:pt idx="59">
                  <c:v>1258</c:v>
                </c:pt>
                <c:pt idx="60">
                  <c:v>1367</c:v>
                </c:pt>
                <c:pt idx="61">
                  <c:v>1242</c:v>
                </c:pt>
                <c:pt idx="62">
                  <c:v>1274</c:v>
                </c:pt>
                <c:pt idx="63">
                  <c:v>1189</c:v>
                </c:pt>
                <c:pt idx="64">
                  <c:v>805</c:v>
                </c:pt>
                <c:pt idx="65">
                  <c:v>450</c:v>
                </c:pt>
                <c:pt idx="66">
                  <c:v>1246</c:v>
                </c:pt>
                <c:pt idx="67">
                  <c:v>12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BA-4C71-B75C-6521C77AE7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C$397:$C$497</c:f>
              <c:numCache>
                <c:formatCode>General</c:formatCode>
                <c:ptCount val="10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2BA-4C71-B75C-6521C77AE78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D$397:$D$497</c:f>
              <c:numCache>
                <c:formatCode>General</c:formatCode>
                <c:ptCount val="101"/>
                <c:pt idx="63">
                  <c:v>1226</c:v>
                </c:pt>
                <c:pt idx="64">
                  <c:v>1192</c:v>
                </c:pt>
                <c:pt idx="65">
                  <c:v>1166</c:v>
                </c:pt>
                <c:pt idx="66">
                  <c:v>1151</c:v>
                </c:pt>
                <c:pt idx="67">
                  <c:v>1136</c:v>
                </c:pt>
                <c:pt idx="68">
                  <c:v>1120</c:v>
                </c:pt>
                <c:pt idx="69">
                  <c:v>1098</c:v>
                </c:pt>
                <c:pt idx="70">
                  <c:v>1072</c:v>
                </c:pt>
                <c:pt idx="71">
                  <c:v>1051</c:v>
                </c:pt>
                <c:pt idx="72">
                  <c:v>1034</c:v>
                </c:pt>
                <c:pt idx="73">
                  <c:v>1019</c:v>
                </c:pt>
                <c:pt idx="74">
                  <c:v>1001</c:v>
                </c:pt>
                <c:pt idx="75">
                  <c:v>982</c:v>
                </c:pt>
                <c:pt idx="76">
                  <c:v>963</c:v>
                </c:pt>
                <c:pt idx="77">
                  <c:v>945</c:v>
                </c:pt>
                <c:pt idx="78">
                  <c:v>929</c:v>
                </c:pt>
                <c:pt idx="79">
                  <c:v>913</c:v>
                </c:pt>
                <c:pt idx="80">
                  <c:v>897</c:v>
                </c:pt>
                <c:pt idx="81">
                  <c:v>880</c:v>
                </c:pt>
                <c:pt idx="82">
                  <c:v>864</c:v>
                </c:pt>
                <c:pt idx="83">
                  <c:v>849</c:v>
                </c:pt>
                <c:pt idx="84">
                  <c:v>834</c:v>
                </c:pt>
                <c:pt idx="85">
                  <c:v>819</c:v>
                </c:pt>
                <c:pt idx="86">
                  <c:v>805</c:v>
                </c:pt>
                <c:pt idx="87">
                  <c:v>790</c:v>
                </c:pt>
                <c:pt idx="88">
                  <c:v>776</c:v>
                </c:pt>
                <c:pt idx="89">
                  <c:v>762</c:v>
                </c:pt>
                <c:pt idx="90">
                  <c:v>749</c:v>
                </c:pt>
                <c:pt idx="91">
                  <c:v>736</c:v>
                </c:pt>
                <c:pt idx="92">
                  <c:v>723</c:v>
                </c:pt>
                <c:pt idx="93">
                  <c:v>710</c:v>
                </c:pt>
                <c:pt idx="94">
                  <c:v>697</c:v>
                </c:pt>
                <c:pt idx="95">
                  <c:v>685</c:v>
                </c:pt>
                <c:pt idx="96">
                  <c:v>673</c:v>
                </c:pt>
                <c:pt idx="97">
                  <c:v>661</c:v>
                </c:pt>
                <c:pt idx="98">
                  <c:v>650</c:v>
                </c:pt>
                <c:pt idx="99">
                  <c:v>638</c:v>
                </c:pt>
                <c:pt idx="100">
                  <c:v>6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2BA-4C71-B75C-6521C77AE78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E$397:$E$497</c:f>
              <c:numCache>
                <c:formatCode>General</c:formatCode>
                <c:ptCount val="101"/>
                <c:pt idx="63">
                  <c:v>1254</c:v>
                </c:pt>
                <c:pt idx="64">
                  <c:v>1234</c:v>
                </c:pt>
                <c:pt idx="65">
                  <c:v>1218</c:v>
                </c:pt>
                <c:pt idx="66">
                  <c:v>1207</c:v>
                </c:pt>
                <c:pt idx="67">
                  <c:v>1200</c:v>
                </c:pt>
                <c:pt idx="68">
                  <c:v>1196</c:v>
                </c:pt>
                <c:pt idx="69">
                  <c:v>1186</c:v>
                </c:pt>
                <c:pt idx="70">
                  <c:v>1172</c:v>
                </c:pt>
                <c:pt idx="71">
                  <c:v>1159</c:v>
                </c:pt>
                <c:pt idx="72">
                  <c:v>1150</c:v>
                </c:pt>
                <c:pt idx="73">
                  <c:v>1143</c:v>
                </c:pt>
                <c:pt idx="74">
                  <c:v>1134</c:v>
                </c:pt>
                <c:pt idx="75">
                  <c:v>1125</c:v>
                </c:pt>
                <c:pt idx="76">
                  <c:v>1114</c:v>
                </c:pt>
                <c:pt idx="77">
                  <c:v>1103</c:v>
                </c:pt>
                <c:pt idx="78">
                  <c:v>1094</c:v>
                </c:pt>
                <c:pt idx="79">
                  <c:v>1086</c:v>
                </c:pt>
                <c:pt idx="80">
                  <c:v>1077</c:v>
                </c:pt>
                <c:pt idx="81">
                  <c:v>1068</c:v>
                </c:pt>
                <c:pt idx="82">
                  <c:v>1058</c:v>
                </c:pt>
                <c:pt idx="83">
                  <c:v>1049</c:v>
                </c:pt>
                <c:pt idx="84">
                  <c:v>1041</c:v>
                </c:pt>
                <c:pt idx="85">
                  <c:v>1032</c:v>
                </c:pt>
                <c:pt idx="86">
                  <c:v>1024</c:v>
                </c:pt>
                <c:pt idx="87">
                  <c:v>1015</c:v>
                </c:pt>
                <c:pt idx="88">
                  <c:v>1006</c:v>
                </c:pt>
                <c:pt idx="89">
                  <c:v>998</c:v>
                </c:pt>
                <c:pt idx="90">
                  <c:v>990</c:v>
                </c:pt>
                <c:pt idx="91">
                  <c:v>982</c:v>
                </c:pt>
                <c:pt idx="92">
                  <c:v>973</c:v>
                </c:pt>
                <c:pt idx="93">
                  <c:v>965</c:v>
                </c:pt>
                <c:pt idx="94">
                  <c:v>957</c:v>
                </c:pt>
                <c:pt idx="95">
                  <c:v>949</c:v>
                </c:pt>
                <c:pt idx="96">
                  <c:v>941</c:v>
                </c:pt>
                <c:pt idx="97">
                  <c:v>934</c:v>
                </c:pt>
                <c:pt idx="98">
                  <c:v>926</c:v>
                </c:pt>
                <c:pt idx="99">
                  <c:v>918</c:v>
                </c:pt>
                <c:pt idx="100">
                  <c:v>9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2BA-4C71-B75C-6521C77AE78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F$397:$F$497</c:f>
              <c:numCache>
                <c:formatCode>General</c:formatCode>
                <c:ptCount val="101"/>
                <c:pt idx="63">
                  <c:v>1308</c:v>
                </c:pt>
                <c:pt idx="64">
                  <c:v>1319</c:v>
                </c:pt>
                <c:pt idx="65">
                  <c:v>1320</c:v>
                </c:pt>
                <c:pt idx="66">
                  <c:v>1319</c:v>
                </c:pt>
                <c:pt idx="67">
                  <c:v>1332</c:v>
                </c:pt>
                <c:pt idx="68">
                  <c:v>1353</c:v>
                </c:pt>
                <c:pt idx="69">
                  <c:v>1371</c:v>
                </c:pt>
                <c:pt idx="70">
                  <c:v>1386</c:v>
                </c:pt>
                <c:pt idx="71">
                  <c:v>1393</c:v>
                </c:pt>
                <c:pt idx="72">
                  <c:v>1402</c:v>
                </c:pt>
                <c:pt idx="73">
                  <c:v>1416</c:v>
                </c:pt>
                <c:pt idx="74">
                  <c:v>1434</c:v>
                </c:pt>
                <c:pt idx="75">
                  <c:v>1450</c:v>
                </c:pt>
                <c:pt idx="76">
                  <c:v>1463</c:v>
                </c:pt>
                <c:pt idx="77">
                  <c:v>1474</c:v>
                </c:pt>
                <c:pt idx="78">
                  <c:v>1487</c:v>
                </c:pt>
                <c:pt idx="79">
                  <c:v>1502</c:v>
                </c:pt>
                <c:pt idx="80">
                  <c:v>1517</c:v>
                </c:pt>
                <c:pt idx="81">
                  <c:v>1533</c:v>
                </c:pt>
                <c:pt idx="82">
                  <c:v>1547</c:v>
                </c:pt>
                <c:pt idx="83">
                  <c:v>1560</c:v>
                </c:pt>
                <c:pt idx="84">
                  <c:v>1575</c:v>
                </c:pt>
                <c:pt idx="85">
                  <c:v>1590</c:v>
                </c:pt>
                <c:pt idx="86">
                  <c:v>1606</c:v>
                </c:pt>
                <c:pt idx="87">
                  <c:v>1621</c:v>
                </c:pt>
                <c:pt idx="88">
                  <c:v>1636</c:v>
                </c:pt>
                <c:pt idx="89">
                  <c:v>1651</c:v>
                </c:pt>
                <c:pt idx="90">
                  <c:v>1667</c:v>
                </c:pt>
                <c:pt idx="91">
                  <c:v>1683</c:v>
                </c:pt>
                <c:pt idx="92">
                  <c:v>1699</c:v>
                </c:pt>
                <c:pt idx="93">
                  <c:v>1715</c:v>
                </c:pt>
                <c:pt idx="94">
                  <c:v>1731</c:v>
                </c:pt>
                <c:pt idx="95">
                  <c:v>1747</c:v>
                </c:pt>
                <c:pt idx="96">
                  <c:v>1764</c:v>
                </c:pt>
                <c:pt idx="97">
                  <c:v>1781</c:v>
                </c:pt>
                <c:pt idx="98">
                  <c:v>1797</c:v>
                </c:pt>
                <c:pt idx="99">
                  <c:v>1814</c:v>
                </c:pt>
                <c:pt idx="100">
                  <c:v>18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2BA-4C71-B75C-6521C77AE789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G$397:$G$497</c:f>
              <c:numCache>
                <c:formatCode>General</c:formatCode>
                <c:ptCount val="101"/>
                <c:pt idx="63">
                  <c:v>1336</c:v>
                </c:pt>
                <c:pt idx="64">
                  <c:v>1362</c:v>
                </c:pt>
                <c:pt idx="65">
                  <c:v>1371</c:v>
                </c:pt>
                <c:pt idx="66">
                  <c:v>1375</c:v>
                </c:pt>
                <c:pt idx="67">
                  <c:v>1399</c:v>
                </c:pt>
                <c:pt idx="68">
                  <c:v>1434</c:v>
                </c:pt>
                <c:pt idx="69">
                  <c:v>1468</c:v>
                </c:pt>
                <c:pt idx="70">
                  <c:v>1500</c:v>
                </c:pt>
                <c:pt idx="71">
                  <c:v>1518</c:v>
                </c:pt>
                <c:pt idx="72">
                  <c:v>1539</c:v>
                </c:pt>
                <c:pt idx="73">
                  <c:v>1566</c:v>
                </c:pt>
                <c:pt idx="74">
                  <c:v>1600</c:v>
                </c:pt>
                <c:pt idx="75">
                  <c:v>1633</c:v>
                </c:pt>
                <c:pt idx="76">
                  <c:v>1662</c:v>
                </c:pt>
                <c:pt idx="77">
                  <c:v>1689</c:v>
                </c:pt>
                <c:pt idx="78">
                  <c:v>1716</c:v>
                </c:pt>
                <c:pt idx="79">
                  <c:v>1748</c:v>
                </c:pt>
                <c:pt idx="80">
                  <c:v>1782</c:v>
                </c:pt>
                <c:pt idx="81">
                  <c:v>1816</c:v>
                </c:pt>
                <c:pt idx="82">
                  <c:v>1847</c:v>
                </c:pt>
                <c:pt idx="83">
                  <c:v>1879</c:v>
                </c:pt>
                <c:pt idx="84">
                  <c:v>1912</c:v>
                </c:pt>
                <c:pt idx="85">
                  <c:v>1947</c:v>
                </c:pt>
                <c:pt idx="86">
                  <c:v>1983</c:v>
                </c:pt>
                <c:pt idx="87">
                  <c:v>2019</c:v>
                </c:pt>
                <c:pt idx="88">
                  <c:v>2055</c:v>
                </c:pt>
                <c:pt idx="89">
                  <c:v>2091</c:v>
                </c:pt>
                <c:pt idx="90">
                  <c:v>2128</c:v>
                </c:pt>
                <c:pt idx="91">
                  <c:v>2167</c:v>
                </c:pt>
                <c:pt idx="92">
                  <c:v>2206</c:v>
                </c:pt>
                <c:pt idx="93">
                  <c:v>2246</c:v>
                </c:pt>
                <c:pt idx="94">
                  <c:v>2286</c:v>
                </c:pt>
                <c:pt idx="95">
                  <c:v>2326</c:v>
                </c:pt>
                <c:pt idx="96">
                  <c:v>2368</c:v>
                </c:pt>
                <c:pt idx="97">
                  <c:v>2410</c:v>
                </c:pt>
                <c:pt idx="98">
                  <c:v>2454</c:v>
                </c:pt>
                <c:pt idx="99">
                  <c:v>2497</c:v>
                </c:pt>
                <c:pt idx="100">
                  <c:v>25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2BA-4C71-B75C-6521C77AE7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H$122:$H$344</c:f>
              <c:numCache>
                <c:formatCode>0</c:formatCode>
                <c:ptCount val="22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  <c:pt idx="188" formatCode="General">
                  <c:v>100</c:v>
                </c:pt>
                <c:pt idx="189" formatCode="General">
                  <c:v>100</c:v>
                </c:pt>
                <c:pt idx="190" formatCode="General">
                  <c:v>100</c:v>
                </c:pt>
                <c:pt idx="191" formatCode="General">
                  <c:v>100</c:v>
                </c:pt>
                <c:pt idx="192" formatCode="General">
                  <c:v>100</c:v>
                </c:pt>
                <c:pt idx="193" formatCode="General">
                  <c:v>100</c:v>
                </c:pt>
                <c:pt idx="194" formatCode="General">
                  <c:v>100</c:v>
                </c:pt>
                <c:pt idx="195" formatCode="General">
                  <c:v>100</c:v>
                </c:pt>
                <c:pt idx="196" formatCode="General">
                  <c:v>100</c:v>
                </c:pt>
                <c:pt idx="197" formatCode="General">
                  <c:v>100</c:v>
                </c:pt>
                <c:pt idx="198" formatCode="General">
                  <c:v>100</c:v>
                </c:pt>
                <c:pt idx="199" formatCode="General">
                  <c:v>100</c:v>
                </c:pt>
                <c:pt idx="200" formatCode="General">
                  <c:v>100</c:v>
                </c:pt>
                <c:pt idx="201" formatCode="General">
                  <c:v>100</c:v>
                </c:pt>
                <c:pt idx="202" formatCode="General">
                  <c:v>100</c:v>
                </c:pt>
                <c:pt idx="203" formatCode="General">
                  <c:v>100</c:v>
                </c:pt>
                <c:pt idx="204" formatCode="General">
                  <c:v>100</c:v>
                </c:pt>
                <c:pt idx="205" formatCode="General">
                  <c:v>100</c:v>
                </c:pt>
                <c:pt idx="206" formatCode="General">
                  <c:v>100</c:v>
                </c:pt>
                <c:pt idx="207" formatCode="General">
                  <c:v>100</c:v>
                </c:pt>
                <c:pt idx="208" formatCode="General">
                  <c:v>100</c:v>
                </c:pt>
                <c:pt idx="209" formatCode="General">
                  <c:v>100</c:v>
                </c:pt>
                <c:pt idx="210" formatCode="General">
                  <c:v>100</c:v>
                </c:pt>
                <c:pt idx="211" formatCode="General">
                  <c:v>100</c:v>
                </c:pt>
                <c:pt idx="212" formatCode="General">
                  <c:v>100</c:v>
                </c:pt>
                <c:pt idx="213" formatCode="General">
                  <c:v>100</c:v>
                </c:pt>
                <c:pt idx="214" formatCode="General">
                  <c:v>100</c:v>
                </c:pt>
                <c:pt idx="215" formatCode="General">
                  <c:v>100</c:v>
                </c:pt>
                <c:pt idx="216" formatCode="General">
                  <c:v>100</c:v>
                </c:pt>
                <c:pt idx="217" formatCode="General">
                  <c:v>100</c:v>
                </c:pt>
                <c:pt idx="218" formatCode="General">
                  <c:v>100</c:v>
                </c:pt>
                <c:pt idx="219" formatCode="General">
                  <c:v>100</c:v>
                </c:pt>
                <c:pt idx="220" formatCode="General">
                  <c:v>100</c:v>
                </c:pt>
                <c:pt idx="221" formatCode="General">
                  <c:v>100</c:v>
                </c:pt>
                <c:pt idx="222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1E-47F1-A483-499E1EA87FD5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I$122:$I$344</c:f>
              <c:numCache>
                <c:formatCode>0</c:formatCode>
                <c:ptCount val="22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  <c:pt idx="188" formatCode="General">
                  <c:v>50</c:v>
                </c:pt>
                <c:pt idx="189" formatCode="General">
                  <c:v>50</c:v>
                </c:pt>
                <c:pt idx="190" formatCode="General">
                  <c:v>50</c:v>
                </c:pt>
                <c:pt idx="191" formatCode="General">
                  <c:v>50</c:v>
                </c:pt>
                <c:pt idx="192" formatCode="General">
                  <c:v>50</c:v>
                </c:pt>
                <c:pt idx="193" formatCode="General">
                  <c:v>50</c:v>
                </c:pt>
                <c:pt idx="194" formatCode="General">
                  <c:v>50</c:v>
                </c:pt>
                <c:pt idx="195" formatCode="General">
                  <c:v>50</c:v>
                </c:pt>
                <c:pt idx="196" formatCode="General">
                  <c:v>50</c:v>
                </c:pt>
                <c:pt idx="197" formatCode="General">
                  <c:v>50</c:v>
                </c:pt>
                <c:pt idx="198" formatCode="General">
                  <c:v>50</c:v>
                </c:pt>
                <c:pt idx="199" formatCode="General">
                  <c:v>50</c:v>
                </c:pt>
                <c:pt idx="200" formatCode="General">
                  <c:v>50</c:v>
                </c:pt>
                <c:pt idx="201" formatCode="General">
                  <c:v>50</c:v>
                </c:pt>
                <c:pt idx="202" formatCode="General">
                  <c:v>50</c:v>
                </c:pt>
                <c:pt idx="203" formatCode="General">
                  <c:v>50</c:v>
                </c:pt>
                <c:pt idx="204" formatCode="General">
                  <c:v>50</c:v>
                </c:pt>
                <c:pt idx="205" formatCode="General">
                  <c:v>50</c:v>
                </c:pt>
                <c:pt idx="206" formatCode="General">
                  <c:v>50</c:v>
                </c:pt>
                <c:pt idx="207" formatCode="General">
                  <c:v>50</c:v>
                </c:pt>
                <c:pt idx="208" formatCode="General">
                  <c:v>50</c:v>
                </c:pt>
                <c:pt idx="209" formatCode="General">
                  <c:v>50</c:v>
                </c:pt>
                <c:pt idx="210" formatCode="General">
                  <c:v>50</c:v>
                </c:pt>
                <c:pt idx="211" formatCode="General">
                  <c:v>50</c:v>
                </c:pt>
                <c:pt idx="212" formatCode="General">
                  <c:v>50</c:v>
                </c:pt>
                <c:pt idx="213" formatCode="General">
                  <c:v>50</c:v>
                </c:pt>
                <c:pt idx="214" formatCode="General">
                  <c:v>50</c:v>
                </c:pt>
                <c:pt idx="215" formatCode="General">
                  <c:v>50</c:v>
                </c:pt>
                <c:pt idx="216" formatCode="General">
                  <c:v>50</c:v>
                </c:pt>
                <c:pt idx="217" formatCode="General">
                  <c:v>50</c:v>
                </c:pt>
                <c:pt idx="218" formatCode="General">
                  <c:v>50</c:v>
                </c:pt>
                <c:pt idx="219" formatCode="General">
                  <c:v>50</c:v>
                </c:pt>
                <c:pt idx="220" formatCode="General">
                  <c:v>50</c:v>
                </c:pt>
                <c:pt idx="221" formatCode="General">
                  <c:v>50</c:v>
                </c:pt>
                <c:pt idx="222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B1E-47F1-A483-499E1EA87F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B$122:$B$344</c:f>
              <c:numCache>
                <c:formatCode>0</c:formatCode>
                <c:ptCount val="223"/>
                <c:pt idx="0">
                  <c:v>27.294848005640116</c:v>
                </c:pt>
                <c:pt idx="1">
                  <c:v>24.602082731541095</c:v>
                </c:pt>
                <c:pt idx="2">
                  <c:v>22.276512722091937</c:v>
                </c:pt>
                <c:pt idx="3">
                  <c:v>18.726958497143222</c:v>
                </c:pt>
                <c:pt idx="4">
                  <c:v>19.338950604893</c:v>
                </c:pt>
                <c:pt idx="5">
                  <c:v>19.216552183343044</c:v>
                </c:pt>
                <c:pt idx="6">
                  <c:v>16.034193223044195</c:v>
                </c:pt>
                <c:pt idx="7">
                  <c:v>14.687810585994685</c:v>
                </c:pt>
                <c:pt idx="8">
                  <c:v>13.953420056694949</c:v>
                </c:pt>
                <c:pt idx="9">
                  <c:v>13.463826370495125</c:v>
                </c:pt>
                <c:pt idx="10">
                  <c:v>12.48463899809548</c:v>
                </c:pt>
                <c:pt idx="11">
                  <c:v>10.036670567096367</c:v>
                </c:pt>
                <c:pt idx="12">
                  <c:v>10.036670567096367</c:v>
                </c:pt>
                <c:pt idx="13">
                  <c:v>9.0574831946967205</c:v>
                </c:pt>
                <c:pt idx="14">
                  <c:v>6.9767100283474743</c:v>
                </c:pt>
                <c:pt idx="15">
                  <c:v>6.2423194990477402</c:v>
                </c:pt>
                <c:pt idx="16">
                  <c:v>5.140733705098139</c:v>
                </c:pt>
                <c:pt idx="17">
                  <c:v>5.2631321266480944</c:v>
                </c:pt>
                <c:pt idx="18">
                  <c:v>5.5079289697480061</c:v>
                </c:pt>
                <c:pt idx="19">
                  <c:v>5.3855305481980507</c:v>
                </c:pt>
                <c:pt idx="20">
                  <c:v>3.9167494895985819</c:v>
                </c:pt>
                <c:pt idx="21">
                  <c:v>4.0391479111485378</c:v>
                </c:pt>
                <c:pt idx="22">
                  <c:v>3.4271558033987595</c:v>
                </c:pt>
                <c:pt idx="23">
                  <c:v>3.1823589602988478</c:v>
                </c:pt>
                <c:pt idx="24">
                  <c:v>2.9375621171989366</c:v>
                </c:pt>
                <c:pt idx="25">
                  <c:v>2.8151636956489807</c:v>
                </c:pt>
                <c:pt idx="26">
                  <c:v>2.8151636956489807</c:v>
                </c:pt>
                <c:pt idx="27">
                  <c:v>3.1823589602988478</c:v>
                </c:pt>
                <c:pt idx="28">
                  <c:v>2.2031715878992024</c:v>
                </c:pt>
                <c:pt idx="29">
                  <c:v>2.2031715878992024</c:v>
                </c:pt>
                <c:pt idx="30">
                  <c:v>2.2031715878992024</c:v>
                </c:pt>
                <c:pt idx="31">
                  <c:v>2.4479684309991141</c:v>
                </c:pt>
                <c:pt idx="32">
                  <c:v>2.4479684309991141</c:v>
                </c:pt>
                <c:pt idx="33">
                  <c:v>2.6927652740990253</c:v>
                </c:pt>
                <c:pt idx="34">
                  <c:v>2.5703668525490695</c:v>
                </c:pt>
                <c:pt idx="35">
                  <c:v>2.8151636956489807</c:v>
                </c:pt>
                <c:pt idx="36">
                  <c:v>3.6719526464986711</c:v>
                </c:pt>
                <c:pt idx="37">
                  <c:v>4.6511400188983165</c:v>
                </c:pt>
                <c:pt idx="38">
                  <c:v>4.7735384404482719</c:v>
                </c:pt>
                <c:pt idx="39">
                  <c:v>4.7735384404482719</c:v>
                </c:pt>
                <c:pt idx="40">
                  <c:v>4.6511400188983165</c:v>
                </c:pt>
                <c:pt idx="41">
                  <c:v>5.3855305481980507</c:v>
                </c:pt>
                <c:pt idx="42">
                  <c:v>7.3439052929973423</c:v>
                </c:pt>
                <c:pt idx="43">
                  <c:v>7.5887021360972531</c:v>
                </c:pt>
                <c:pt idx="44">
                  <c:v>6.6095147636976073</c:v>
                </c:pt>
                <c:pt idx="45">
                  <c:v>6.4871163421476519</c:v>
                </c:pt>
                <c:pt idx="46">
                  <c:v>6.4871163421476519</c:v>
                </c:pt>
                <c:pt idx="47">
                  <c:v>7.4663037145472977</c:v>
                </c:pt>
                <c:pt idx="48">
                  <c:v>6.9767100283474743</c:v>
                </c:pt>
                <c:pt idx="49">
                  <c:v>5.9975226559478294</c:v>
                </c:pt>
                <c:pt idx="50">
                  <c:v>5.6303273912979614</c:v>
                </c:pt>
                <c:pt idx="51">
                  <c:v>6.2423194990477402</c:v>
                </c:pt>
                <c:pt idx="52">
                  <c:v>6.2423194990477402</c:v>
                </c:pt>
                <c:pt idx="53">
                  <c:v>6.6095147636976073</c:v>
                </c:pt>
                <c:pt idx="54">
                  <c:v>5.6303273912979614</c:v>
                </c:pt>
                <c:pt idx="55">
                  <c:v>6.9767100283474743</c:v>
                </c:pt>
                <c:pt idx="56">
                  <c:v>7.0991084498974306</c:v>
                </c:pt>
                <c:pt idx="57">
                  <c:v>7.4663037145472977</c:v>
                </c:pt>
                <c:pt idx="58">
                  <c:v>7.221506871447386</c:v>
                </c:pt>
                <c:pt idx="59">
                  <c:v>7.0991084498974306</c:v>
                </c:pt>
                <c:pt idx="60">
                  <c:v>6.8543116067975189</c:v>
                </c:pt>
                <c:pt idx="61">
                  <c:v>6.8543116067975189</c:v>
                </c:pt>
                <c:pt idx="62">
                  <c:v>5.6303273912979614</c:v>
                </c:pt>
                <c:pt idx="63">
                  <c:v>5.140733705098139</c:v>
                </c:pt>
                <c:pt idx="64">
                  <c:v>4.8959368619982282</c:v>
                </c:pt>
                <c:pt idx="65">
                  <c:v>4.4063431757984048</c:v>
                </c:pt>
                <c:pt idx="66">
                  <c:v>4.1615463326984932</c:v>
                </c:pt>
                <c:pt idx="67">
                  <c:v>4.5287415973483602</c:v>
                </c:pt>
                <c:pt idx="68">
                  <c:v>5.2631321266480944</c:v>
                </c:pt>
                <c:pt idx="69">
                  <c:v>5.8751242343978731</c:v>
                </c:pt>
                <c:pt idx="70">
                  <c:v>6.3647179205976956</c:v>
                </c:pt>
                <c:pt idx="71">
                  <c:v>5.7527258128479177</c:v>
                </c:pt>
                <c:pt idx="72">
                  <c:v>6.2423194990477402</c:v>
                </c:pt>
                <c:pt idx="73">
                  <c:v>6.9767100283474743</c:v>
                </c:pt>
                <c:pt idx="74">
                  <c:v>7.4663037145472977</c:v>
                </c:pt>
                <c:pt idx="75">
                  <c:v>6.7319131852475627</c:v>
                </c:pt>
                <c:pt idx="76">
                  <c:v>6.3647179205976956</c:v>
                </c:pt>
                <c:pt idx="77">
                  <c:v>6.8543116067975189</c:v>
                </c:pt>
                <c:pt idx="78">
                  <c:v>7.0991084498974306</c:v>
                </c:pt>
                <c:pt idx="79">
                  <c:v>7.221506871447386</c:v>
                </c:pt>
                <c:pt idx="80">
                  <c:v>6.6095147636976073</c:v>
                </c:pt>
                <c:pt idx="81">
                  <c:v>6.8543116067975189</c:v>
                </c:pt>
                <c:pt idx="82">
                  <c:v>7.8334989791971639</c:v>
                </c:pt>
                <c:pt idx="83">
                  <c:v>8.0782958222970755</c:v>
                </c:pt>
                <c:pt idx="84">
                  <c:v>6.6095147636976073</c:v>
                </c:pt>
                <c:pt idx="85">
                  <c:v>7.7111005576472094</c:v>
                </c:pt>
                <c:pt idx="86">
                  <c:v>7.4663037145472977</c:v>
                </c:pt>
                <c:pt idx="87">
                  <c:v>8.0782958222970755</c:v>
                </c:pt>
                <c:pt idx="88">
                  <c:v>7.3439052929973423</c:v>
                </c:pt>
                <c:pt idx="89">
                  <c:v>6.7319131852475627</c:v>
                </c:pt>
                <c:pt idx="90">
                  <c:v>8.2006942438470301</c:v>
                </c:pt>
                <c:pt idx="91">
                  <c:v>9.302280037796633</c:v>
                </c:pt>
                <c:pt idx="92">
                  <c:v>9.7918737239964564</c:v>
                </c:pt>
                <c:pt idx="93">
                  <c:v>10.771061096396101</c:v>
                </c:pt>
                <c:pt idx="94">
                  <c:v>11.505451625695835</c:v>
                </c:pt>
                <c:pt idx="95">
                  <c:v>13.586224792045082</c:v>
                </c:pt>
                <c:pt idx="96">
                  <c:v>13.953420056694949</c:v>
                </c:pt>
                <c:pt idx="97">
                  <c:v>15.789396379944282</c:v>
                </c:pt>
                <c:pt idx="98">
                  <c:v>17.625372703193619</c:v>
                </c:pt>
                <c:pt idx="99">
                  <c:v>17.747771124743576</c:v>
                </c:pt>
                <c:pt idx="100">
                  <c:v>18.726958497143222</c:v>
                </c:pt>
                <c:pt idx="101">
                  <c:v>19.338950604893</c:v>
                </c:pt>
                <c:pt idx="102">
                  <c:v>17.502974281643663</c:v>
                </c:pt>
                <c:pt idx="103">
                  <c:v>17.747771124743576</c:v>
                </c:pt>
                <c:pt idx="104">
                  <c:v>15.666997958394328</c:v>
                </c:pt>
                <c:pt idx="105">
                  <c:v>15.544599536844375</c:v>
                </c:pt>
                <c:pt idx="106">
                  <c:v>16.646185330793973</c:v>
                </c:pt>
                <c:pt idx="107">
                  <c:v>17.380575860093707</c:v>
                </c:pt>
                <c:pt idx="108">
                  <c:v>17.747771124743576</c:v>
                </c:pt>
                <c:pt idx="109">
                  <c:v>18.726958497143222</c:v>
                </c:pt>
                <c:pt idx="110">
                  <c:v>19.338950604893</c:v>
                </c:pt>
                <c:pt idx="111">
                  <c:v>19.950942712642778</c:v>
                </c:pt>
                <c:pt idx="112">
                  <c:v>20.073341134192734</c:v>
                </c:pt>
                <c:pt idx="113">
                  <c:v>18.604560075593266</c:v>
                </c:pt>
                <c:pt idx="114">
                  <c:v>17.992567967843488</c:v>
                </c:pt>
                <c:pt idx="115">
                  <c:v>17.870169546293532</c:v>
                </c:pt>
                <c:pt idx="116">
                  <c:v>18.849356918693179</c:v>
                </c:pt>
                <c:pt idx="117">
                  <c:v>18.359763232493354</c:v>
                </c:pt>
                <c:pt idx="118">
                  <c:v>20.073341134192734</c:v>
                </c:pt>
                <c:pt idx="119">
                  <c:v>21.174926928142334</c:v>
                </c:pt>
                <c:pt idx="120">
                  <c:v>25.091676417740917</c:v>
                </c:pt>
                <c:pt idx="121">
                  <c:v>29.498019593539322</c:v>
                </c:pt>
                <c:pt idx="122">
                  <c:v>31.701191181438524</c:v>
                </c:pt>
                <c:pt idx="123">
                  <c:v>33.169972240037993</c:v>
                </c:pt>
                <c:pt idx="124">
                  <c:v>33.90436276933773</c:v>
                </c:pt>
                <c:pt idx="125">
                  <c:v>34.271558033987596</c:v>
                </c:pt>
                <c:pt idx="126">
                  <c:v>35.005948563287326</c:v>
                </c:pt>
                <c:pt idx="127">
                  <c:v>35.250745406387239</c:v>
                </c:pt>
                <c:pt idx="128">
                  <c:v>32.80277697538812</c:v>
                </c:pt>
                <c:pt idx="129">
                  <c:v>32.435581710738262</c:v>
                </c:pt>
                <c:pt idx="130">
                  <c:v>31.578792759888564</c:v>
                </c:pt>
                <c:pt idx="131">
                  <c:v>32.680378553838167</c:v>
                </c:pt>
                <c:pt idx="132">
                  <c:v>36.352331200336835</c:v>
                </c:pt>
                <c:pt idx="133">
                  <c:v>38.188307523586175</c:v>
                </c:pt>
                <c:pt idx="134">
                  <c:v>38.310705945136128</c:v>
                </c:pt>
                <c:pt idx="135">
                  <c:v>41.493064905434977</c:v>
                </c:pt>
                <c:pt idx="136">
                  <c:v>44.430627022633921</c:v>
                </c:pt>
                <c:pt idx="137">
                  <c:v>46.144204924333295</c:v>
                </c:pt>
                <c:pt idx="138">
                  <c:v>46.144204924333295</c:v>
                </c:pt>
                <c:pt idx="139">
                  <c:v>49.571360727732049</c:v>
                </c:pt>
                <c:pt idx="140">
                  <c:v>58.384047079328866</c:v>
                </c:pt>
                <c:pt idx="141">
                  <c:v>66.462342901625945</c:v>
                </c:pt>
                <c:pt idx="142">
                  <c:v>72.582263979123724</c:v>
                </c:pt>
                <c:pt idx="143">
                  <c:v>79.681372429021152</c:v>
                </c:pt>
                <c:pt idx="144">
                  <c:v>89.962839839217438</c:v>
                </c:pt>
                <c:pt idx="145">
                  <c:v>96.327557759815122</c:v>
                </c:pt>
                <c:pt idx="146">
                  <c:v>104.65065042521212</c:v>
                </c:pt>
                <c:pt idx="147">
                  <c:v>116.40089889400787</c:v>
                </c:pt>
                <c:pt idx="148">
                  <c:v>127.29435841195391</c:v>
                </c:pt>
                <c:pt idx="149">
                  <c:v>139.04460688074965</c:v>
                </c:pt>
                <c:pt idx="150">
                  <c:v>145.0421295366975</c:v>
                </c:pt>
                <c:pt idx="151">
                  <c:v>164.50347856314045</c:v>
                </c:pt>
                <c:pt idx="152">
                  <c:v>170.37860279753832</c:v>
                </c:pt>
                <c:pt idx="153">
                  <c:v>178.33450019828544</c:v>
                </c:pt>
                <c:pt idx="154">
                  <c:v>197.67345080317847</c:v>
                </c:pt>
                <c:pt idx="155">
                  <c:v>214.07483929087252</c:v>
                </c:pt>
                <c:pt idx="156">
                  <c:v>240.88009361031283</c:v>
                </c:pt>
                <c:pt idx="157">
                  <c:v>266.21656687115365</c:v>
                </c:pt>
                <c:pt idx="158">
                  <c:v>263.89099686170448</c:v>
                </c:pt>
                <c:pt idx="159">
                  <c:v>265.60457476340383</c:v>
                </c:pt>
                <c:pt idx="160">
                  <c:v>291.92023539664433</c:v>
                </c:pt>
                <c:pt idx="161">
                  <c:v>324.60061395048251</c:v>
                </c:pt>
                <c:pt idx="162">
                  <c:v>358.26017987672031</c:v>
                </c:pt>
                <c:pt idx="163">
                  <c:v>363.15611673871854</c:v>
                </c:pt>
                <c:pt idx="164">
                  <c:v>403.18040058555408</c:v>
                </c:pt>
                <c:pt idx="165">
                  <c:v>437.45195861954164</c:v>
                </c:pt>
                <c:pt idx="166">
                  <c:v>454.83253447963534</c:v>
                </c:pt>
                <c:pt idx="167">
                  <c:v>475.39546930002791</c:v>
                </c:pt>
                <c:pt idx="168">
                  <c:v>524.23243949846017</c:v>
                </c:pt>
                <c:pt idx="169">
                  <c:v>537.81866429050535</c:v>
                </c:pt>
                <c:pt idx="170">
                  <c:v>568.17347283489437</c:v>
                </c:pt>
                <c:pt idx="171">
                  <c:v>627.90390255127261</c:v>
                </c:pt>
                <c:pt idx="172">
                  <c:v>677.84245854365463</c:v>
                </c:pt>
                <c:pt idx="173">
                  <c:v>691.06148807104978</c:v>
                </c:pt>
                <c:pt idx="174">
                  <c:v>730.59617823168549</c:v>
                </c:pt>
                <c:pt idx="175">
                  <c:v>797.42571639796131</c:v>
                </c:pt>
                <c:pt idx="176">
                  <c:v>839.28597656804629</c:v>
                </c:pt>
                <c:pt idx="177">
                  <c:v>945.16061120875781</c:v>
                </c:pt>
                <c:pt idx="178">
                  <c:v>921.90491111426627</c:v>
                </c:pt>
                <c:pt idx="179">
                  <c:v>909.29787369462088</c:v>
                </c:pt>
                <c:pt idx="180">
                  <c:v>925.45446533921495</c:v>
                </c:pt>
                <c:pt idx="181">
                  <c:v>964.62196023520073</c:v>
                </c:pt>
                <c:pt idx="182">
                  <c:v>936.592721700261</c:v>
                </c:pt>
                <c:pt idx="183">
                  <c:v>957.76764862840321</c:v>
                </c:pt>
                <c:pt idx="184">
                  <c:v>920.06893479101689</c:v>
                </c:pt>
                <c:pt idx="185">
                  <c:v>942.83504119930876</c:v>
                </c:pt>
                <c:pt idx="186">
                  <c:v>937.08231538646066</c:v>
                </c:pt>
                <c:pt idx="187">
                  <c:v>928.39202745641398</c:v>
                </c:pt>
                <c:pt idx="188">
                  <c:v>926.92324639781441</c:v>
                </c:pt>
                <c:pt idx="189">
                  <c:v>915.907388458318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B1E-47F1-A483-499E1EA87F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C$122:$C$344</c:f>
              <c:numCache>
                <c:formatCode>General</c:formatCode>
                <c:ptCount val="22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B1E-47F1-A483-499E1EA87FD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D$122:$D$344</c:f>
              <c:numCache>
                <c:formatCode>General</c:formatCode>
                <c:ptCount val="223"/>
                <c:pt idx="185" formatCode="0">
                  <c:v>945.16061120875781</c:v>
                </c:pt>
                <c:pt idx="186" formatCode="0">
                  <c:v>933.41036273996212</c:v>
                </c:pt>
                <c:pt idx="187" formatCode="0">
                  <c:v>919.82413794791694</c:v>
                </c:pt>
                <c:pt idx="188">
                  <c:v>906.60510842052179</c:v>
                </c:pt>
                <c:pt idx="189">
                  <c:v>894.3652662655262</c:v>
                </c:pt>
                <c:pt idx="190">
                  <c:v>880.04465094418151</c:v>
                </c:pt>
                <c:pt idx="191">
                  <c:v>862.29687981943789</c:v>
                </c:pt>
                <c:pt idx="192">
                  <c:v>845.77309291019378</c:v>
                </c:pt>
                <c:pt idx="193">
                  <c:v>830.71808705954925</c:v>
                </c:pt>
                <c:pt idx="194">
                  <c:v>816.64226858130428</c:v>
                </c:pt>
                <c:pt idx="195">
                  <c:v>802.44405168150945</c:v>
                </c:pt>
                <c:pt idx="196">
                  <c:v>788.00103793861467</c:v>
                </c:pt>
                <c:pt idx="197">
                  <c:v>773.31322735262006</c:v>
                </c:pt>
                <c:pt idx="198">
                  <c:v>758.87021360972528</c:v>
                </c:pt>
                <c:pt idx="199">
                  <c:v>745.28398881768021</c:v>
                </c:pt>
                <c:pt idx="200">
                  <c:v>732.30975613338489</c:v>
                </c:pt>
                <c:pt idx="201">
                  <c:v>719.33552344908958</c:v>
                </c:pt>
                <c:pt idx="202">
                  <c:v>706.36129076479438</c:v>
                </c:pt>
                <c:pt idx="203">
                  <c:v>693.50945650204892</c:v>
                </c:pt>
                <c:pt idx="204">
                  <c:v>680.90241908240353</c:v>
                </c:pt>
                <c:pt idx="205">
                  <c:v>668.78497534895791</c:v>
                </c:pt>
                <c:pt idx="206">
                  <c:v>657.03472688016211</c:v>
                </c:pt>
                <c:pt idx="207">
                  <c:v>645.28447841136642</c:v>
                </c:pt>
                <c:pt idx="208">
                  <c:v>633.77902678567057</c:v>
                </c:pt>
                <c:pt idx="209">
                  <c:v>622.39597358152469</c:v>
                </c:pt>
                <c:pt idx="210">
                  <c:v>611.38011564202873</c:v>
                </c:pt>
                <c:pt idx="211">
                  <c:v>600.6090545456326</c:v>
                </c:pt>
                <c:pt idx="212">
                  <c:v>589.96039187078634</c:v>
                </c:pt>
                <c:pt idx="213">
                  <c:v>579.55652603904014</c:v>
                </c:pt>
                <c:pt idx="214">
                  <c:v>569.27505862884391</c:v>
                </c:pt>
                <c:pt idx="215">
                  <c:v>559.11598964019765</c:v>
                </c:pt>
                <c:pt idx="216">
                  <c:v>549.20171749465123</c:v>
                </c:pt>
                <c:pt idx="217">
                  <c:v>539.53224219220465</c:v>
                </c:pt>
                <c:pt idx="218">
                  <c:v>529.98516531130815</c:v>
                </c:pt>
                <c:pt idx="219">
                  <c:v>520.68288527351149</c:v>
                </c:pt>
                <c:pt idx="220">
                  <c:v>511.5030036572648</c:v>
                </c:pt>
                <c:pt idx="221">
                  <c:v>502.56791888411806</c:v>
                </c:pt>
                <c:pt idx="222">
                  <c:v>493.75523253252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B1E-47F1-A483-499E1EA87FD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E$122:$E$344</c:f>
              <c:numCache>
                <c:formatCode>General</c:formatCode>
                <c:ptCount val="223"/>
                <c:pt idx="185" formatCode="0">
                  <c:v>948.09817332595674</c:v>
                </c:pt>
                <c:pt idx="186" formatCode="0">
                  <c:v>940.87666645450929</c:v>
                </c:pt>
                <c:pt idx="187" formatCode="0">
                  <c:v>932.67597221066228</c:v>
                </c:pt>
                <c:pt idx="188">
                  <c:v>925.33206691766509</c:v>
                </c:pt>
                <c:pt idx="189">
                  <c:v>919.94653636946703</c:v>
                </c:pt>
                <c:pt idx="190">
                  <c:v>913.70421687041926</c:v>
                </c:pt>
                <c:pt idx="191">
                  <c:v>905.38112420502216</c:v>
                </c:pt>
                <c:pt idx="192">
                  <c:v>896.69083627497548</c:v>
                </c:pt>
                <c:pt idx="193">
                  <c:v>888.61254045267833</c:v>
                </c:pt>
                <c:pt idx="194">
                  <c:v>881.391033581231</c:v>
                </c:pt>
                <c:pt idx="195">
                  <c:v>874.53672197443348</c:v>
                </c:pt>
                <c:pt idx="196">
                  <c:v>867.56001194608598</c:v>
                </c:pt>
                <c:pt idx="197">
                  <c:v>859.97130980998872</c:v>
                </c:pt>
                <c:pt idx="198">
                  <c:v>852.2602092523415</c:v>
                </c:pt>
                <c:pt idx="199">
                  <c:v>844.91630395934419</c:v>
                </c:pt>
                <c:pt idx="200">
                  <c:v>838.06199235254667</c:v>
                </c:pt>
                <c:pt idx="201">
                  <c:v>831.330079167299</c:v>
                </c:pt>
                <c:pt idx="202">
                  <c:v>824.35336913895162</c:v>
                </c:pt>
                <c:pt idx="203">
                  <c:v>817.25426068905415</c:v>
                </c:pt>
                <c:pt idx="204">
                  <c:v>810.27755066070665</c:v>
                </c:pt>
                <c:pt idx="205">
                  <c:v>803.42323905390913</c:v>
                </c:pt>
                <c:pt idx="206">
                  <c:v>796.69132586866158</c:v>
                </c:pt>
                <c:pt idx="207">
                  <c:v>790.081811104964</c:v>
                </c:pt>
                <c:pt idx="208">
                  <c:v>783.34989791971634</c:v>
                </c:pt>
                <c:pt idx="209">
                  <c:v>776.74038315601877</c:v>
                </c:pt>
                <c:pt idx="210">
                  <c:v>770.13086839232119</c:v>
                </c:pt>
                <c:pt idx="211">
                  <c:v>763.64375205017359</c:v>
                </c:pt>
                <c:pt idx="212">
                  <c:v>757.27903412957585</c:v>
                </c:pt>
                <c:pt idx="213">
                  <c:v>751.03671463052808</c:v>
                </c:pt>
                <c:pt idx="214">
                  <c:v>744.79439513148043</c:v>
                </c:pt>
                <c:pt idx="215">
                  <c:v>738.67447405398264</c:v>
                </c:pt>
                <c:pt idx="216">
                  <c:v>732.43215455493487</c:v>
                </c:pt>
                <c:pt idx="217">
                  <c:v>726.43463189898705</c:v>
                </c:pt>
                <c:pt idx="218">
                  <c:v>720.43710924303912</c:v>
                </c:pt>
                <c:pt idx="219">
                  <c:v>714.43958658709141</c:v>
                </c:pt>
                <c:pt idx="220">
                  <c:v>708.44206393114359</c:v>
                </c:pt>
                <c:pt idx="221">
                  <c:v>702.56693969674564</c:v>
                </c:pt>
                <c:pt idx="222">
                  <c:v>696.691815462347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1E-47F1-A483-499E1EA87FD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F$122:$F$344</c:f>
              <c:numCache>
                <c:formatCode>General</c:formatCode>
                <c:ptCount val="223"/>
                <c:pt idx="185" formatCode="0">
                  <c:v>953.85089913880472</c:v>
                </c:pt>
                <c:pt idx="186" formatCode="0">
                  <c:v>955.6868754620541</c:v>
                </c:pt>
                <c:pt idx="187" formatCode="0">
                  <c:v>958.37964073615308</c:v>
                </c:pt>
                <c:pt idx="188">
                  <c:v>963.03078075505141</c:v>
                </c:pt>
                <c:pt idx="189">
                  <c:v>971.72106868509832</c:v>
                </c:pt>
                <c:pt idx="190">
                  <c:v>982.24733293839438</c:v>
                </c:pt>
                <c:pt idx="191">
                  <c:v>993.63038614254037</c:v>
                </c:pt>
                <c:pt idx="192">
                  <c:v>1001.9534788079372</c:v>
                </c:pt>
                <c:pt idx="193">
                  <c:v>1009.7869777871344</c:v>
                </c:pt>
                <c:pt idx="194">
                  <c:v>1018.5996641387312</c:v>
                </c:pt>
                <c:pt idx="195">
                  <c:v>1028.8811315489274</c:v>
                </c:pt>
                <c:pt idx="196">
                  <c:v>1039.6521926453236</c:v>
                </c:pt>
                <c:pt idx="197">
                  <c:v>1049.9336600555198</c:v>
                </c:pt>
                <c:pt idx="198">
                  <c:v>1059.6031353579665</c:v>
                </c:pt>
                <c:pt idx="199">
                  <c:v>1069.027813817313</c:v>
                </c:pt>
                <c:pt idx="200">
                  <c:v>1078.9420859628594</c:v>
                </c:pt>
                <c:pt idx="201">
                  <c:v>1089.4683502161556</c:v>
                </c:pt>
                <c:pt idx="202">
                  <c:v>1100.2394113125517</c:v>
                </c:pt>
                <c:pt idx="203">
                  <c:v>1110.8880739873978</c:v>
                </c:pt>
                <c:pt idx="204">
                  <c:v>1121.2919398191441</c:v>
                </c:pt>
                <c:pt idx="205">
                  <c:v>1131.8182040724403</c:v>
                </c:pt>
                <c:pt idx="206">
                  <c:v>1142.4668667472863</c:v>
                </c:pt>
                <c:pt idx="207">
                  <c:v>1153.4827246867824</c:v>
                </c:pt>
                <c:pt idx="208">
                  <c:v>1164.6209810478285</c:v>
                </c:pt>
                <c:pt idx="209">
                  <c:v>1175.7592374088742</c:v>
                </c:pt>
                <c:pt idx="210">
                  <c:v>1186.7750953483703</c:v>
                </c:pt>
                <c:pt idx="211">
                  <c:v>1197.9133517094165</c:v>
                </c:pt>
                <c:pt idx="212">
                  <c:v>1209.1740064920123</c:v>
                </c:pt>
                <c:pt idx="213">
                  <c:v>1220.679458117708</c:v>
                </c:pt>
                <c:pt idx="214">
                  <c:v>1232.3073081649538</c:v>
                </c:pt>
                <c:pt idx="215">
                  <c:v>1243.9351582121997</c:v>
                </c:pt>
                <c:pt idx="216">
                  <c:v>1255.5630082594455</c:v>
                </c:pt>
                <c:pt idx="217">
                  <c:v>1267.3132567282412</c:v>
                </c:pt>
                <c:pt idx="218">
                  <c:v>1279.3083020401368</c:v>
                </c:pt>
                <c:pt idx="219">
                  <c:v>1291.4257457735825</c:v>
                </c:pt>
                <c:pt idx="220">
                  <c:v>1303.6655879285781</c:v>
                </c:pt>
                <c:pt idx="221">
                  <c:v>1316.0278285051236</c:v>
                </c:pt>
                <c:pt idx="222">
                  <c:v>1328.51246750321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6B1E-47F1-A483-499E1EA87FD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G$122:$G$344</c:f>
              <c:numCache>
                <c:formatCode>General</c:formatCode>
                <c:ptCount val="223"/>
                <c:pt idx="185" formatCode="0">
                  <c:v>956.78846125600364</c:v>
                </c:pt>
                <c:pt idx="186" formatCode="0">
                  <c:v>963.15317917660127</c:v>
                </c:pt>
                <c:pt idx="187" formatCode="0">
                  <c:v>971.23147499889842</c:v>
                </c:pt>
                <c:pt idx="188">
                  <c:v>981.7577392521946</c:v>
                </c:pt>
                <c:pt idx="189">
                  <c:v>997.54713563213886</c:v>
                </c:pt>
                <c:pt idx="190">
                  <c:v>1016.641289393932</c:v>
                </c:pt>
                <c:pt idx="191">
                  <c:v>1038.3058100082742</c:v>
                </c:pt>
                <c:pt idx="192">
                  <c:v>1055.8087842899179</c:v>
                </c:pt>
                <c:pt idx="193">
                  <c:v>1072.4549696207118</c:v>
                </c:pt>
                <c:pt idx="194">
                  <c:v>1090.4475375885552</c:v>
                </c:pt>
                <c:pt idx="195">
                  <c:v>1110.7656755658479</c:v>
                </c:pt>
                <c:pt idx="196">
                  <c:v>1132.1853993370901</c:v>
                </c:pt>
                <c:pt idx="197">
                  <c:v>1153.4827246867824</c:v>
                </c:pt>
                <c:pt idx="198">
                  <c:v>1174.1680579287249</c:v>
                </c:pt>
                <c:pt idx="199">
                  <c:v>1194.2413990629177</c:v>
                </c:pt>
                <c:pt idx="200">
                  <c:v>1215.2939275695101</c:v>
                </c:pt>
                <c:pt idx="201">
                  <c:v>1237.5704402916019</c:v>
                </c:pt>
                <c:pt idx="202">
                  <c:v>1260.5813435429936</c:v>
                </c:pt>
                <c:pt idx="203">
                  <c:v>1283.5922467943853</c:v>
                </c:pt>
                <c:pt idx="204">
                  <c:v>1306.480751624227</c:v>
                </c:pt>
                <c:pt idx="205">
                  <c:v>1329.6140532971688</c:v>
                </c:pt>
                <c:pt idx="206">
                  <c:v>1353.4817454994102</c:v>
                </c:pt>
                <c:pt idx="207">
                  <c:v>1378.083828230951</c:v>
                </c:pt>
                <c:pt idx="208">
                  <c:v>1403.0531062271421</c:v>
                </c:pt>
                <c:pt idx="209">
                  <c:v>1428.3895794879829</c:v>
                </c:pt>
                <c:pt idx="210">
                  <c:v>1453.8484511703737</c:v>
                </c:pt>
                <c:pt idx="211">
                  <c:v>1479.7969165389643</c:v>
                </c:pt>
                <c:pt idx="212">
                  <c:v>1506.3573740153047</c:v>
                </c:pt>
                <c:pt idx="213">
                  <c:v>1533.5298235993948</c:v>
                </c:pt>
                <c:pt idx="214">
                  <c:v>1561.1918668696849</c:v>
                </c:pt>
                <c:pt idx="215">
                  <c:v>1589.2211054046247</c:v>
                </c:pt>
                <c:pt idx="216">
                  <c:v>1617.6175392042144</c:v>
                </c:pt>
                <c:pt idx="217">
                  <c:v>1646.5035666900037</c:v>
                </c:pt>
                <c:pt idx="218">
                  <c:v>1676.001586283543</c:v>
                </c:pt>
                <c:pt idx="219">
                  <c:v>1706.1115979848323</c:v>
                </c:pt>
                <c:pt idx="220">
                  <c:v>1736.5888049507714</c:v>
                </c:pt>
                <c:pt idx="221">
                  <c:v>1767.6780040244603</c:v>
                </c:pt>
                <c:pt idx="222">
                  <c:v>1799.25679678434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6B1E-47F1-A483-499E1EA87F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B$397:$B$497</c:f>
              <c:numCache>
                <c:formatCode>0</c:formatCode>
                <c:ptCount val="101"/>
                <c:pt idx="0">
                  <c:v>20</c:v>
                </c:pt>
                <c:pt idx="1">
                  <c:v>4</c:v>
                </c:pt>
                <c:pt idx="2">
                  <c:v>10</c:v>
                </c:pt>
                <c:pt idx="3">
                  <c:v>20</c:v>
                </c:pt>
                <c:pt idx="4">
                  <c:v>12</c:v>
                </c:pt>
                <c:pt idx="5">
                  <c:v>34</c:v>
                </c:pt>
                <c:pt idx="6">
                  <c:v>17</c:v>
                </c:pt>
                <c:pt idx="7">
                  <c:v>16</c:v>
                </c:pt>
                <c:pt idx="8">
                  <c:v>4</c:v>
                </c:pt>
                <c:pt idx="9">
                  <c:v>9</c:v>
                </c:pt>
                <c:pt idx="10">
                  <c:v>16</c:v>
                </c:pt>
                <c:pt idx="11">
                  <c:v>28</c:v>
                </c:pt>
                <c:pt idx="12">
                  <c:v>12</c:v>
                </c:pt>
                <c:pt idx="13">
                  <c:v>27</c:v>
                </c:pt>
                <c:pt idx="14">
                  <c:v>17</c:v>
                </c:pt>
                <c:pt idx="15">
                  <c:v>5</c:v>
                </c:pt>
                <c:pt idx="16">
                  <c:v>8</c:v>
                </c:pt>
                <c:pt idx="17">
                  <c:v>48</c:v>
                </c:pt>
                <c:pt idx="18">
                  <c:v>54</c:v>
                </c:pt>
                <c:pt idx="19">
                  <c:v>58</c:v>
                </c:pt>
                <c:pt idx="20">
                  <c:v>82</c:v>
                </c:pt>
                <c:pt idx="21">
                  <c:v>85</c:v>
                </c:pt>
                <c:pt idx="22">
                  <c:v>32</c:v>
                </c:pt>
                <c:pt idx="23">
                  <c:v>33</c:v>
                </c:pt>
                <c:pt idx="24">
                  <c:v>96</c:v>
                </c:pt>
                <c:pt idx="25">
                  <c:v>133</c:v>
                </c:pt>
                <c:pt idx="26">
                  <c:v>132</c:v>
                </c:pt>
                <c:pt idx="27">
                  <c:v>90</c:v>
                </c:pt>
                <c:pt idx="28">
                  <c:v>119</c:v>
                </c:pt>
                <c:pt idx="29">
                  <c:v>100</c:v>
                </c:pt>
                <c:pt idx="30">
                  <c:v>23</c:v>
                </c:pt>
                <c:pt idx="31">
                  <c:v>239</c:v>
                </c:pt>
                <c:pt idx="32">
                  <c:v>218</c:v>
                </c:pt>
                <c:pt idx="33">
                  <c:v>178</c:v>
                </c:pt>
                <c:pt idx="34">
                  <c:v>198</c:v>
                </c:pt>
                <c:pt idx="35">
                  <c:v>219</c:v>
                </c:pt>
                <c:pt idx="36">
                  <c:v>77</c:v>
                </c:pt>
                <c:pt idx="37">
                  <c:v>61</c:v>
                </c:pt>
                <c:pt idx="38">
                  <c:v>239</c:v>
                </c:pt>
                <c:pt idx="39">
                  <c:v>320</c:v>
                </c:pt>
                <c:pt idx="40">
                  <c:v>310</c:v>
                </c:pt>
                <c:pt idx="41">
                  <c:v>326</c:v>
                </c:pt>
                <c:pt idx="42">
                  <c:v>296</c:v>
                </c:pt>
                <c:pt idx="43">
                  <c:v>198</c:v>
                </c:pt>
                <c:pt idx="44">
                  <c:v>162</c:v>
                </c:pt>
                <c:pt idx="45">
                  <c:v>335</c:v>
                </c:pt>
                <c:pt idx="46">
                  <c:v>515</c:v>
                </c:pt>
                <c:pt idx="47">
                  <c:v>329</c:v>
                </c:pt>
                <c:pt idx="48">
                  <c:v>429</c:v>
                </c:pt>
                <c:pt idx="49">
                  <c:v>663</c:v>
                </c:pt>
                <c:pt idx="50">
                  <c:v>260</c:v>
                </c:pt>
                <c:pt idx="51">
                  <c:v>258</c:v>
                </c:pt>
                <c:pt idx="52">
                  <c:v>512</c:v>
                </c:pt>
                <c:pt idx="53">
                  <c:v>768</c:v>
                </c:pt>
                <c:pt idx="54">
                  <c:v>614</c:v>
                </c:pt>
                <c:pt idx="55">
                  <c:v>1024</c:v>
                </c:pt>
                <c:pt idx="56">
                  <c:v>787</c:v>
                </c:pt>
                <c:pt idx="57">
                  <c:v>315</c:v>
                </c:pt>
                <c:pt idx="58">
                  <c:v>247</c:v>
                </c:pt>
                <c:pt idx="59">
                  <c:v>519</c:v>
                </c:pt>
                <c:pt idx="60">
                  <c:v>785</c:v>
                </c:pt>
                <c:pt idx="61">
                  <c:v>915</c:v>
                </c:pt>
                <c:pt idx="62">
                  <c:v>668</c:v>
                </c:pt>
                <c:pt idx="63">
                  <c:v>632</c:v>
                </c:pt>
                <c:pt idx="64">
                  <c:v>308</c:v>
                </c:pt>
                <c:pt idx="65">
                  <c:v>273</c:v>
                </c:pt>
                <c:pt idx="66">
                  <c:v>724</c:v>
                </c:pt>
                <c:pt idx="67">
                  <c:v>6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BB-4EED-A644-DF008CDA96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C$397:$C$497</c:f>
              <c:numCache>
                <c:formatCode>General</c:formatCode>
                <c:ptCount val="10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BB-4EED-A644-DF008CDA966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D$397:$D$497</c:f>
              <c:numCache>
                <c:formatCode>General</c:formatCode>
                <c:ptCount val="101"/>
                <c:pt idx="63">
                  <c:v>691</c:v>
                </c:pt>
                <c:pt idx="64">
                  <c:v>672</c:v>
                </c:pt>
                <c:pt idx="65">
                  <c:v>658</c:v>
                </c:pt>
                <c:pt idx="66">
                  <c:v>649</c:v>
                </c:pt>
                <c:pt idx="67">
                  <c:v>640</c:v>
                </c:pt>
                <c:pt idx="68">
                  <c:v>631</c:v>
                </c:pt>
                <c:pt idx="69">
                  <c:v>619</c:v>
                </c:pt>
                <c:pt idx="70">
                  <c:v>604</c:v>
                </c:pt>
                <c:pt idx="71">
                  <c:v>593</c:v>
                </c:pt>
                <c:pt idx="72">
                  <c:v>583</c:v>
                </c:pt>
                <c:pt idx="73">
                  <c:v>574</c:v>
                </c:pt>
                <c:pt idx="74">
                  <c:v>564</c:v>
                </c:pt>
                <c:pt idx="75">
                  <c:v>554</c:v>
                </c:pt>
                <c:pt idx="76">
                  <c:v>543</c:v>
                </c:pt>
                <c:pt idx="77">
                  <c:v>533</c:v>
                </c:pt>
                <c:pt idx="78">
                  <c:v>524</c:v>
                </c:pt>
                <c:pt idx="79">
                  <c:v>515</c:v>
                </c:pt>
                <c:pt idx="80">
                  <c:v>506</c:v>
                </c:pt>
                <c:pt idx="81">
                  <c:v>496</c:v>
                </c:pt>
                <c:pt idx="82">
                  <c:v>487</c:v>
                </c:pt>
                <c:pt idx="83">
                  <c:v>478</c:v>
                </c:pt>
                <c:pt idx="84">
                  <c:v>470</c:v>
                </c:pt>
                <c:pt idx="85">
                  <c:v>462</c:v>
                </c:pt>
                <c:pt idx="86">
                  <c:v>454</c:v>
                </c:pt>
                <c:pt idx="87">
                  <c:v>446</c:v>
                </c:pt>
                <c:pt idx="88">
                  <c:v>438</c:v>
                </c:pt>
                <c:pt idx="89">
                  <c:v>430</c:v>
                </c:pt>
                <c:pt idx="90">
                  <c:v>422</c:v>
                </c:pt>
                <c:pt idx="91">
                  <c:v>415</c:v>
                </c:pt>
                <c:pt idx="92">
                  <c:v>408</c:v>
                </c:pt>
                <c:pt idx="93">
                  <c:v>400</c:v>
                </c:pt>
                <c:pt idx="94">
                  <c:v>393</c:v>
                </c:pt>
                <c:pt idx="95">
                  <c:v>386</c:v>
                </c:pt>
                <c:pt idx="96">
                  <c:v>380</c:v>
                </c:pt>
                <c:pt idx="97">
                  <c:v>373</c:v>
                </c:pt>
                <c:pt idx="98">
                  <c:v>366</c:v>
                </c:pt>
                <c:pt idx="99">
                  <c:v>360</c:v>
                </c:pt>
                <c:pt idx="100">
                  <c:v>3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BB-4EED-A644-DF008CDA966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E$397:$E$497</c:f>
              <c:numCache>
                <c:formatCode>General</c:formatCode>
                <c:ptCount val="101"/>
                <c:pt idx="63">
                  <c:v>707</c:v>
                </c:pt>
                <c:pt idx="64">
                  <c:v>696</c:v>
                </c:pt>
                <c:pt idx="65">
                  <c:v>687</c:v>
                </c:pt>
                <c:pt idx="66">
                  <c:v>681</c:v>
                </c:pt>
                <c:pt idx="67">
                  <c:v>677</c:v>
                </c:pt>
                <c:pt idx="68">
                  <c:v>674</c:v>
                </c:pt>
                <c:pt idx="69">
                  <c:v>669</c:v>
                </c:pt>
                <c:pt idx="70">
                  <c:v>661</c:v>
                </c:pt>
                <c:pt idx="71">
                  <c:v>654</c:v>
                </c:pt>
                <c:pt idx="72">
                  <c:v>649</c:v>
                </c:pt>
                <c:pt idx="73">
                  <c:v>644</c:v>
                </c:pt>
                <c:pt idx="74">
                  <c:v>640</c:v>
                </c:pt>
                <c:pt idx="75">
                  <c:v>634</c:v>
                </c:pt>
                <c:pt idx="76">
                  <c:v>628</c:v>
                </c:pt>
                <c:pt idx="77">
                  <c:v>622</c:v>
                </c:pt>
                <c:pt idx="78">
                  <c:v>617</c:v>
                </c:pt>
                <c:pt idx="79">
                  <c:v>612</c:v>
                </c:pt>
                <c:pt idx="80">
                  <c:v>607</c:v>
                </c:pt>
                <c:pt idx="81">
                  <c:v>602</c:v>
                </c:pt>
                <c:pt idx="82">
                  <c:v>597</c:v>
                </c:pt>
                <c:pt idx="83">
                  <c:v>592</c:v>
                </c:pt>
                <c:pt idx="84">
                  <c:v>587</c:v>
                </c:pt>
                <c:pt idx="85">
                  <c:v>582</c:v>
                </c:pt>
                <c:pt idx="86">
                  <c:v>577</c:v>
                </c:pt>
                <c:pt idx="87">
                  <c:v>572</c:v>
                </c:pt>
                <c:pt idx="88">
                  <c:v>567</c:v>
                </c:pt>
                <c:pt idx="89">
                  <c:v>563</c:v>
                </c:pt>
                <c:pt idx="90">
                  <c:v>558</c:v>
                </c:pt>
                <c:pt idx="91">
                  <c:v>553</c:v>
                </c:pt>
                <c:pt idx="92">
                  <c:v>549</c:v>
                </c:pt>
                <c:pt idx="93">
                  <c:v>544</c:v>
                </c:pt>
                <c:pt idx="94">
                  <c:v>540</c:v>
                </c:pt>
                <c:pt idx="95">
                  <c:v>535</c:v>
                </c:pt>
                <c:pt idx="96">
                  <c:v>531</c:v>
                </c:pt>
                <c:pt idx="97">
                  <c:v>526</c:v>
                </c:pt>
                <c:pt idx="98">
                  <c:v>522</c:v>
                </c:pt>
                <c:pt idx="99">
                  <c:v>518</c:v>
                </c:pt>
                <c:pt idx="100">
                  <c:v>5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BB-4EED-A644-DF008CDA966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F$397:$F$497</c:f>
              <c:numCache>
                <c:formatCode>General</c:formatCode>
                <c:ptCount val="101"/>
                <c:pt idx="63">
                  <c:v>738</c:v>
                </c:pt>
                <c:pt idx="64">
                  <c:v>744</c:v>
                </c:pt>
                <c:pt idx="65">
                  <c:v>744</c:v>
                </c:pt>
                <c:pt idx="66">
                  <c:v>744</c:v>
                </c:pt>
                <c:pt idx="67">
                  <c:v>751</c:v>
                </c:pt>
                <c:pt idx="68">
                  <c:v>763</c:v>
                </c:pt>
                <c:pt idx="69">
                  <c:v>773</c:v>
                </c:pt>
                <c:pt idx="70">
                  <c:v>782</c:v>
                </c:pt>
                <c:pt idx="71">
                  <c:v>785</c:v>
                </c:pt>
                <c:pt idx="72">
                  <c:v>791</c:v>
                </c:pt>
                <c:pt idx="73">
                  <c:v>798</c:v>
                </c:pt>
                <c:pt idx="74">
                  <c:v>808</c:v>
                </c:pt>
                <c:pt idx="75">
                  <c:v>817</c:v>
                </c:pt>
                <c:pt idx="76">
                  <c:v>825</c:v>
                </c:pt>
                <c:pt idx="77">
                  <c:v>831</c:v>
                </c:pt>
                <c:pt idx="78">
                  <c:v>838</c:v>
                </c:pt>
                <c:pt idx="79">
                  <c:v>847</c:v>
                </c:pt>
                <c:pt idx="80">
                  <c:v>856</c:v>
                </c:pt>
                <c:pt idx="81">
                  <c:v>864</c:v>
                </c:pt>
                <c:pt idx="82">
                  <c:v>872</c:v>
                </c:pt>
                <c:pt idx="83">
                  <c:v>880</c:v>
                </c:pt>
                <c:pt idx="84">
                  <c:v>888</c:v>
                </c:pt>
                <c:pt idx="85">
                  <c:v>897</c:v>
                </c:pt>
                <c:pt idx="86">
                  <c:v>905</c:v>
                </c:pt>
                <c:pt idx="87">
                  <c:v>914</c:v>
                </c:pt>
                <c:pt idx="88">
                  <c:v>923</c:v>
                </c:pt>
                <c:pt idx="89">
                  <c:v>931</c:v>
                </c:pt>
                <c:pt idx="90">
                  <c:v>940</c:v>
                </c:pt>
                <c:pt idx="91">
                  <c:v>949</c:v>
                </c:pt>
                <c:pt idx="92">
                  <c:v>958</c:v>
                </c:pt>
                <c:pt idx="93">
                  <c:v>967</c:v>
                </c:pt>
                <c:pt idx="94">
                  <c:v>976</c:v>
                </c:pt>
                <c:pt idx="95">
                  <c:v>985</c:v>
                </c:pt>
                <c:pt idx="96">
                  <c:v>995</c:v>
                </c:pt>
                <c:pt idx="97">
                  <c:v>1004</c:v>
                </c:pt>
                <c:pt idx="98">
                  <c:v>1013</c:v>
                </c:pt>
                <c:pt idx="99">
                  <c:v>1023</c:v>
                </c:pt>
                <c:pt idx="100">
                  <c:v>10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BB-4EED-A644-DF008CDA966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G$397:$G$497</c:f>
              <c:numCache>
                <c:formatCode>General</c:formatCode>
                <c:ptCount val="101"/>
                <c:pt idx="63">
                  <c:v>753</c:v>
                </c:pt>
                <c:pt idx="64">
                  <c:v>768</c:v>
                </c:pt>
                <c:pt idx="65">
                  <c:v>773</c:v>
                </c:pt>
                <c:pt idx="66">
                  <c:v>775</c:v>
                </c:pt>
                <c:pt idx="67">
                  <c:v>789</c:v>
                </c:pt>
                <c:pt idx="68">
                  <c:v>809</c:v>
                </c:pt>
                <c:pt idx="69">
                  <c:v>828</c:v>
                </c:pt>
                <c:pt idx="70">
                  <c:v>846</c:v>
                </c:pt>
                <c:pt idx="71">
                  <c:v>856</c:v>
                </c:pt>
                <c:pt idx="72">
                  <c:v>868</c:v>
                </c:pt>
                <c:pt idx="73">
                  <c:v>883</c:v>
                </c:pt>
                <c:pt idx="74">
                  <c:v>902</c:v>
                </c:pt>
                <c:pt idx="75">
                  <c:v>921</c:v>
                </c:pt>
                <c:pt idx="76">
                  <c:v>937</c:v>
                </c:pt>
                <c:pt idx="77">
                  <c:v>952</c:v>
                </c:pt>
                <c:pt idx="78">
                  <c:v>968</c:v>
                </c:pt>
                <c:pt idx="79">
                  <c:v>985</c:v>
                </c:pt>
                <c:pt idx="80">
                  <c:v>1005</c:v>
                </c:pt>
                <c:pt idx="81">
                  <c:v>1024</c:v>
                </c:pt>
                <c:pt idx="82">
                  <c:v>1042</c:v>
                </c:pt>
                <c:pt idx="83">
                  <c:v>1059</c:v>
                </c:pt>
                <c:pt idx="84">
                  <c:v>1078</c:v>
                </c:pt>
                <c:pt idx="85">
                  <c:v>1098</c:v>
                </c:pt>
                <c:pt idx="86">
                  <c:v>1118</c:v>
                </c:pt>
                <c:pt idx="87">
                  <c:v>1138</c:v>
                </c:pt>
                <c:pt idx="88">
                  <c:v>1159</c:v>
                </c:pt>
                <c:pt idx="89">
                  <c:v>1179</c:v>
                </c:pt>
                <c:pt idx="90">
                  <c:v>1200</c:v>
                </c:pt>
                <c:pt idx="91">
                  <c:v>1222</c:v>
                </c:pt>
                <c:pt idx="92">
                  <c:v>1244</c:v>
                </c:pt>
                <c:pt idx="93">
                  <c:v>1266</c:v>
                </c:pt>
                <c:pt idx="94">
                  <c:v>1289</c:v>
                </c:pt>
                <c:pt idx="95">
                  <c:v>1312</c:v>
                </c:pt>
                <c:pt idx="96">
                  <c:v>1335</c:v>
                </c:pt>
                <c:pt idx="97">
                  <c:v>1359</c:v>
                </c:pt>
                <c:pt idx="98">
                  <c:v>1383</c:v>
                </c:pt>
                <c:pt idx="99">
                  <c:v>1408</c:v>
                </c:pt>
                <c:pt idx="100">
                  <c:v>14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BB-4EED-A644-DF008CDA96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4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H$122:$H$344</c:f>
              <c:numCache>
                <c:formatCode>0</c:formatCode>
                <c:ptCount val="22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  <c:pt idx="188" formatCode="General">
                  <c:v>100</c:v>
                </c:pt>
                <c:pt idx="189" formatCode="General">
                  <c:v>100</c:v>
                </c:pt>
                <c:pt idx="190" formatCode="General">
                  <c:v>100</c:v>
                </c:pt>
                <c:pt idx="191" formatCode="General">
                  <c:v>100</c:v>
                </c:pt>
                <c:pt idx="192" formatCode="General">
                  <c:v>100</c:v>
                </c:pt>
                <c:pt idx="193" formatCode="General">
                  <c:v>100</c:v>
                </c:pt>
                <c:pt idx="194" formatCode="General">
                  <c:v>100</c:v>
                </c:pt>
                <c:pt idx="195" formatCode="General">
                  <c:v>100</c:v>
                </c:pt>
                <c:pt idx="196" formatCode="General">
                  <c:v>100</c:v>
                </c:pt>
                <c:pt idx="197" formatCode="General">
                  <c:v>100</c:v>
                </c:pt>
                <c:pt idx="198" formatCode="General">
                  <c:v>100</c:v>
                </c:pt>
                <c:pt idx="199" formatCode="General">
                  <c:v>100</c:v>
                </c:pt>
                <c:pt idx="200" formatCode="General">
                  <c:v>100</c:v>
                </c:pt>
                <c:pt idx="201" formatCode="General">
                  <c:v>100</c:v>
                </c:pt>
                <c:pt idx="202" formatCode="General">
                  <c:v>100</c:v>
                </c:pt>
                <c:pt idx="203" formatCode="General">
                  <c:v>100</c:v>
                </c:pt>
                <c:pt idx="204" formatCode="General">
                  <c:v>100</c:v>
                </c:pt>
                <c:pt idx="205" formatCode="General">
                  <c:v>100</c:v>
                </c:pt>
                <c:pt idx="206" formatCode="General">
                  <c:v>100</c:v>
                </c:pt>
                <c:pt idx="207" formatCode="General">
                  <c:v>100</c:v>
                </c:pt>
                <c:pt idx="208" formatCode="General">
                  <c:v>100</c:v>
                </c:pt>
                <c:pt idx="209" formatCode="General">
                  <c:v>100</c:v>
                </c:pt>
                <c:pt idx="210" formatCode="General">
                  <c:v>100</c:v>
                </c:pt>
                <c:pt idx="211" formatCode="General">
                  <c:v>100</c:v>
                </c:pt>
                <c:pt idx="212" formatCode="General">
                  <c:v>100</c:v>
                </c:pt>
                <c:pt idx="213" formatCode="General">
                  <c:v>100</c:v>
                </c:pt>
                <c:pt idx="214" formatCode="General">
                  <c:v>100</c:v>
                </c:pt>
                <c:pt idx="215" formatCode="General">
                  <c:v>100</c:v>
                </c:pt>
                <c:pt idx="216" formatCode="General">
                  <c:v>100</c:v>
                </c:pt>
                <c:pt idx="217" formatCode="General">
                  <c:v>100</c:v>
                </c:pt>
                <c:pt idx="218" formatCode="General">
                  <c:v>100</c:v>
                </c:pt>
                <c:pt idx="219" formatCode="General">
                  <c:v>100</c:v>
                </c:pt>
                <c:pt idx="220" formatCode="General">
                  <c:v>100</c:v>
                </c:pt>
                <c:pt idx="221" formatCode="General">
                  <c:v>100</c:v>
                </c:pt>
                <c:pt idx="222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C96-4C9B-A802-3CE62B6AE08A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I$122:$I$344</c:f>
              <c:numCache>
                <c:formatCode>0</c:formatCode>
                <c:ptCount val="22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  <c:pt idx="188" formatCode="General">
                  <c:v>50</c:v>
                </c:pt>
                <c:pt idx="189" formatCode="General">
                  <c:v>50</c:v>
                </c:pt>
                <c:pt idx="190" formatCode="General">
                  <c:v>50</c:v>
                </c:pt>
                <c:pt idx="191" formatCode="General">
                  <c:v>50</c:v>
                </c:pt>
                <c:pt idx="192" formatCode="General">
                  <c:v>50</c:v>
                </c:pt>
                <c:pt idx="193" formatCode="General">
                  <c:v>50</c:v>
                </c:pt>
                <c:pt idx="194" formatCode="General">
                  <c:v>50</c:v>
                </c:pt>
                <c:pt idx="195" formatCode="General">
                  <c:v>50</c:v>
                </c:pt>
                <c:pt idx="196" formatCode="General">
                  <c:v>50</c:v>
                </c:pt>
                <c:pt idx="197" formatCode="General">
                  <c:v>50</c:v>
                </c:pt>
                <c:pt idx="198" formatCode="General">
                  <c:v>50</c:v>
                </c:pt>
                <c:pt idx="199" formatCode="General">
                  <c:v>50</c:v>
                </c:pt>
                <c:pt idx="200" formatCode="General">
                  <c:v>50</c:v>
                </c:pt>
                <c:pt idx="201" formatCode="General">
                  <c:v>50</c:v>
                </c:pt>
                <c:pt idx="202" formatCode="General">
                  <c:v>50</c:v>
                </c:pt>
                <c:pt idx="203" formatCode="General">
                  <c:v>50</c:v>
                </c:pt>
                <c:pt idx="204" formatCode="General">
                  <c:v>50</c:v>
                </c:pt>
                <c:pt idx="205" formatCode="General">
                  <c:v>50</c:v>
                </c:pt>
                <c:pt idx="206" formatCode="General">
                  <c:v>50</c:v>
                </c:pt>
                <c:pt idx="207" formatCode="General">
                  <c:v>50</c:v>
                </c:pt>
                <c:pt idx="208" formatCode="General">
                  <c:v>50</c:v>
                </c:pt>
                <c:pt idx="209" formatCode="General">
                  <c:v>50</c:v>
                </c:pt>
                <c:pt idx="210" formatCode="General">
                  <c:v>50</c:v>
                </c:pt>
                <c:pt idx="211" formatCode="General">
                  <c:v>50</c:v>
                </c:pt>
                <c:pt idx="212" formatCode="General">
                  <c:v>50</c:v>
                </c:pt>
                <c:pt idx="213" formatCode="General">
                  <c:v>50</c:v>
                </c:pt>
                <c:pt idx="214" formatCode="General">
                  <c:v>50</c:v>
                </c:pt>
                <c:pt idx="215" formatCode="General">
                  <c:v>50</c:v>
                </c:pt>
                <c:pt idx="216" formatCode="General">
                  <c:v>50</c:v>
                </c:pt>
                <c:pt idx="217" formatCode="General">
                  <c:v>50</c:v>
                </c:pt>
                <c:pt idx="218" formatCode="General">
                  <c:v>50</c:v>
                </c:pt>
                <c:pt idx="219" formatCode="General">
                  <c:v>50</c:v>
                </c:pt>
                <c:pt idx="220" formatCode="General">
                  <c:v>50</c:v>
                </c:pt>
                <c:pt idx="221" formatCode="General">
                  <c:v>50</c:v>
                </c:pt>
                <c:pt idx="222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C96-4C9B-A802-3CE62B6AE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B$122:$B$344</c:f>
              <c:numCache>
                <c:formatCode>0</c:formatCode>
                <c:ptCount val="223"/>
                <c:pt idx="0">
                  <c:v>36.386154277294139</c:v>
                </c:pt>
                <c:pt idx="1">
                  <c:v>35.708151402561946</c:v>
                </c:pt>
                <c:pt idx="2">
                  <c:v>35.482150444317888</c:v>
                </c:pt>
                <c:pt idx="3">
                  <c:v>36.386154277294139</c:v>
                </c:pt>
                <c:pt idx="4">
                  <c:v>34.352145653097566</c:v>
                </c:pt>
                <c:pt idx="5">
                  <c:v>36.160153319050075</c:v>
                </c:pt>
                <c:pt idx="6">
                  <c:v>31.414133195924752</c:v>
                </c:pt>
                <c:pt idx="7">
                  <c:v>26.668113072799429</c:v>
                </c:pt>
                <c:pt idx="8">
                  <c:v>27.120114989287554</c:v>
                </c:pt>
                <c:pt idx="9">
                  <c:v>27.572116905775683</c:v>
                </c:pt>
                <c:pt idx="10">
                  <c:v>23.278098699138482</c:v>
                </c:pt>
                <c:pt idx="11">
                  <c:v>22.826096782650357</c:v>
                </c:pt>
                <c:pt idx="12">
                  <c:v>20.114085283721604</c:v>
                </c:pt>
                <c:pt idx="13">
                  <c:v>20.792088158453794</c:v>
                </c:pt>
                <c:pt idx="14">
                  <c:v>20.566087200209729</c:v>
                </c:pt>
                <c:pt idx="15">
                  <c:v>17.628074743036912</c:v>
                </c:pt>
                <c:pt idx="16">
                  <c:v>13.334056536399714</c:v>
                </c:pt>
                <c:pt idx="17">
                  <c:v>12.882054619911589</c:v>
                </c:pt>
                <c:pt idx="18">
                  <c:v>12.882054619911589</c:v>
                </c:pt>
                <c:pt idx="19">
                  <c:v>14.012059411131904</c:v>
                </c:pt>
                <c:pt idx="20">
                  <c:v>11.978050786935336</c:v>
                </c:pt>
                <c:pt idx="21">
                  <c:v>9.2660392880065814</c:v>
                </c:pt>
                <c:pt idx="22">
                  <c:v>9.0400383297625186</c:v>
                </c:pt>
                <c:pt idx="23">
                  <c:v>8.8140373715184559</c:v>
                </c:pt>
                <c:pt idx="24">
                  <c:v>8.3620354550303286</c:v>
                </c:pt>
                <c:pt idx="25">
                  <c:v>8.5880364132743914</c:v>
                </c:pt>
                <c:pt idx="26">
                  <c:v>8.1360344967862659</c:v>
                </c:pt>
                <c:pt idx="27">
                  <c:v>7.4580316220540785</c:v>
                </c:pt>
                <c:pt idx="28">
                  <c:v>7.4580316220540785</c:v>
                </c:pt>
                <c:pt idx="29">
                  <c:v>7.0060297055659522</c:v>
                </c:pt>
                <c:pt idx="30">
                  <c:v>7.6840325802981395</c:v>
                </c:pt>
                <c:pt idx="31">
                  <c:v>8.3620354550303286</c:v>
                </c:pt>
                <c:pt idx="32">
                  <c:v>8.3620354550303286</c:v>
                </c:pt>
                <c:pt idx="33">
                  <c:v>7.6840325802981395</c:v>
                </c:pt>
                <c:pt idx="34">
                  <c:v>7.4580316220540785</c:v>
                </c:pt>
                <c:pt idx="35">
                  <c:v>7.4580316220540785</c:v>
                </c:pt>
                <c:pt idx="36">
                  <c:v>7.4580316220540785</c:v>
                </c:pt>
                <c:pt idx="37">
                  <c:v>8.3620354550303286</c:v>
                </c:pt>
                <c:pt idx="38">
                  <c:v>8.1360344967862659</c:v>
                </c:pt>
                <c:pt idx="39">
                  <c:v>8.5880364132743914</c:v>
                </c:pt>
                <c:pt idx="40">
                  <c:v>8.3620354550303286</c:v>
                </c:pt>
                <c:pt idx="41">
                  <c:v>8.3620354550303286</c:v>
                </c:pt>
                <c:pt idx="42">
                  <c:v>8.3620354550303286</c:v>
                </c:pt>
                <c:pt idx="43">
                  <c:v>9.0400383297625186</c:v>
                </c:pt>
                <c:pt idx="44">
                  <c:v>8.5880364132743914</c:v>
                </c:pt>
                <c:pt idx="45">
                  <c:v>8.5880364132743914</c:v>
                </c:pt>
                <c:pt idx="46">
                  <c:v>7.9100335385422031</c:v>
                </c:pt>
                <c:pt idx="47">
                  <c:v>8.3620354550303286</c:v>
                </c:pt>
                <c:pt idx="48">
                  <c:v>8.1360344967862659</c:v>
                </c:pt>
                <c:pt idx="49">
                  <c:v>9.2660392880065814</c:v>
                </c:pt>
                <c:pt idx="50">
                  <c:v>9.4920402462506441</c:v>
                </c:pt>
                <c:pt idx="51">
                  <c:v>9.2660392880065814</c:v>
                </c:pt>
                <c:pt idx="52">
                  <c:v>10.170043120982834</c:v>
                </c:pt>
                <c:pt idx="53">
                  <c:v>10.396044079226897</c:v>
                </c:pt>
                <c:pt idx="54">
                  <c:v>11.300047912203148</c:v>
                </c:pt>
                <c:pt idx="55">
                  <c:v>11.300047912203148</c:v>
                </c:pt>
                <c:pt idx="56">
                  <c:v>12.882054619911589</c:v>
                </c:pt>
                <c:pt idx="57">
                  <c:v>12.656053661667526</c:v>
                </c:pt>
                <c:pt idx="58">
                  <c:v>13.560057494643777</c:v>
                </c:pt>
                <c:pt idx="59">
                  <c:v>11.752049828691273</c:v>
                </c:pt>
                <c:pt idx="60">
                  <c:v>11.752049828691273</c:v>
                </c:pt>
                <c:pt idx="61">
                  <c:v>10.848045995715021</c:v>
                </c:pt>
                <c:pt idx="62">
                  <c:v>11.074046953959085</c:v>
                </c:pt>
                <c:pt idx="63">
                  <c:v>8.1360344967862659</c:v>
                </c:pt>
                <c:pt idx="64">
                  <c:v>7.4580316220540785</c:v>
                </c:pt>
                <c:pt idx="65">
                  <c:v>7.2320306638100149</c:v>
                </c:pt>
                <c:pt idx="66">
                  <c:v>8.8140373715184559</c:v>
                </c:pt>
                <c:pt idx="67">
                  <c:v>8.5880364132743914</c:v>
                </c:pt>
                <c:pt idx="68">
                  <c:v>8.5880364132743914</c:v>
                </c:pt>
                <c:pt idx="69">
                  <c:v>8.3620354550303286</c:v>
                </c:pt>
                <c:pt idx="70">
                  <c:v>9.0400383297625186</c:v>
                </c:pt>
                <c:pt idx="71">
                  <c:v>8.5880364132743914</c:v>
                </c:pt>
                <c:pt idx="72">
                  <c:v>8.5880364132743914</c:v>
                </c:pt>
                <c:pt idx="73">
                  <c:v>7.6840325802981395</c:v>
                </c:pt>
                <c:pt idx="74">
                  <c:v>9.0400383297625186</c:v>
                </c:pt>
                <c:pt idx="75">
                  <c:v>12.430052703423463</c:v>
                </c:pt>
                <c:pt idx="76">
                  <c:v>15.368065160596279</c:v>
                </c:pt>
                <c:pt idx="77">
                  <c:v>19.210081450745353</c:v>
                </c:pt>
                <c:pt idx="78">
                  <c:v>21.696091991430041</c:v>
                </c:pt>
                <c:pt idx="79">
                  <c:v>21.47009103318598</c:v>
                </c:pt>
                <c:pt idx="80">
                  <c:v>21.922092949674106</c:v>
                </c:pt>
                <c:pt idx="81">
                  <c:v>21.018089116697855</c:v>
                </c:pt>
                <c:pt idx="82">
                  <c:v>16.950071868304722</c:v>
                </c:pt>
                <c:pt idx="83">
                  <c:v>16.046068035328467</c:v>
                </c:pt>
                <c:pt idx="84">
                  <c:v>14.012059411131904</c:v>
                </c:pt>
                <c:pt idx="85">
                  <c:v>12.430052703423463</c:v>
                </c:pt>
                <c:pt idx="86">
                  <c:v>12.656053661667526</c:v>
                </c:pt>
                <c:pt idx="87">
                  <c:v>12.882054619911589</c:v>
                </c:pt>
                <c:pt idx="88">
                  <c:v>13.108055578155652</c:v>
                </c:pt>
                <c:pt idx="89">
                  <c:v>14.46406132762003</c:v>
                </c:pt>
                <c:pt idx="90">
                  <c:v>12.882054619911589</c:v>
                </c:pt>
                <c:pt idx="91">
                  <c:v>11.526048870447211</c:v>
                </c:pt>
                <c:pt idx="92">
                  <c:v>12.430052703423463</c:v>
                </c:pt>
                <c:pt idx="93">
                  <c:v>13.560057494643777</c:v>
                </c:pt>
                <c:pt idx="94">
                  <c:v>12.882054619911589</c:v>
                </c:pt>
                <c:pt idx="95">
                  <c:v>12.882054619911589</c:v>
                </c:pt>
                <c:pt idx="96">
                  <c:v>14.238060369375967</c:v>
                </c:pt>
                <c:pt idx="97">
                  <c:v>16.046068035328467</c:v>
                </c:pt>
                <c:pt idx="98">
                  <c:v>16.498069951816596</c:v>
                </c:pt>
                <c:pt idx="99">
                  <c:v>14.690062285864093</c:v>
                </c:pt>
                <c:pt idx="100">
                  <c:v>13.334056536399714</c:v>
                </c:pt>
                <c:pt idx="101">
                  <c:v>14.238060369375967</c:v>
                </c:pt>
                <c:pt idx="102">
                  <c:v>13.786058452887842</c:v>
                </c:pt>
                <c:pt idx="103">
                  <c:v>10.848045995715021</c:v>
                </c:pt>
                <c:pt idx="104">
                  <c:v>9.7180412044947069</c:v>
                </c:pt>
                <c:pt idx="105">
                  <c:v>9.0400383297625186</c:v>
                </c:pt>
                <c:pt idx="106">
                  <c:v>9.9440421627387696</c:v>
                </c:pt>
                <c:pt idx="107">
                  <c:v>10.396044079226897</c:v>
                </c:pt>
                <c:pt idx="108">
                  <c:v>10.170043120982834</c:v>
                </c:pt>
                <c:pt idx="109">
                  <c:v>10.396044079226897</c:v>
                </c:pt>
                <c:pt idx="110">
                  <c:v>12.204051745179399</c:v>
                </c:pt>
                <c:pt idx="111">
                  <c:v>11.074046953959085</c:v>
                </c:pt>
                <c:pt idx="112">
                  <c:v>12.430052703423463</c:v>
                </c:pt>
                <c:pt idx="113">
                  <c:v>11.978050786935336</c:v>
                </c:pt>
                <c:pt idx="114">
                  <c:v>11.074046953959085</c:v>
                </c:pt>
                <c:pt idx="115">
                  <c:v>9.4920402462506441</c:v>
                </c:pt>
                <c:pt idx="116">
                  <c:v>9.7180412044947069</c:v>
                </c:pt>
                <c:pt idx="117">
                  <c:v>8.5880364132743914</c:v>
                </c:pt>
                <c:pt idx="118">
                  <c:v>10.170043120982834</c:v>
                </c:pt>
                <c:pt idx="119">
                  <c:v>7.4580316220540785</c:v>
                </c:pt>
                <c:pt idx="120">
                  <c:v>9.9440421627387696</c:v>
                </c:pt>
                <c:pt idx="121">
                  <c:v>11.978050786935336</c:v>
                </c:pt>
                <c:pt idx="122">
                  <c:v>16.272068993572532</c:v>
                </c:pt>
                <c:pt idx="123">
                  <c:v>16.498069951816596</c:v>
                </c:pt>
                <c:pt idx="124">
                  <c:v>18.080076659525037</c:v>
                </c:pt>
                <c:pt idx="125">
                  <c:v>19.888084325477539</c:v>
                </c:pt>
                <c:pt idx="126">
                  <c:v>22.14809390791817</c:v>
                </c:pt>
                <c:pt idx="127">
                  <c:v>26.216111156311303</c:v>
                </c:pt>
                <c:pt idx="128">
                  <c:v>26.442112114555364</c:v>
                </c:pt>
                <c:pt idx="129">
                  <c:v>25.538108281579113</c:v>
                </c:pt>
                <c:pt idx="130">
                  <c:v>25.538108281579113</c:v>
                </c:pt>
                <c:pt idx="131">
                  <c:v>25.312107323335052</c:v>
                </c:pt>
                <c:pt idx="132">
                  <c:v>24.408103490358798</c:v>
                </c:pt>
                <c:pt idx="133">
                  <c:v>28.024118822263809</c:v>
                </c:pt>
                <c:pt idx="134">
                  <c:v>23.052097740894421</c:v>
                </c:pt>
                <c:pt idx="135">
                  <c:v>25.312107323335052</c:v>
                </c:pt>
                <c:pt idx="136">
                  <c:v>25.538108281579113</c:v>
                </c:pt>
                <c:pt idx="137">
                  <c:v>25.764109239823178</c:v>
                </c:pt>
                <c:pt idx="138">
                  <c:v>25.538108281579113</c:v>
                </c:pt>
                <c:pt idx="139">
                  <c:v>32.770138945389128</c:v>
                </c:pt>
                <c:pt idx="140">
                  <c:v>38.646163859734763</c:v>
                </c:pt>
                <c:pt idx="141">
                  <c:v>49.042207938961667</c:v>
                </c:pt>
                <c:pt idx="142">
                  <c:v>61.472260642385116</c:v>
                </c:pt>
                <c:pt idx="143">
                  <c:v>76.840325802981411</c:v>
                </c:pt>
                <c:pt idx="144">
                  <c:v>82.942351675571103</c:v>
                </c:pt>
                <c:pt idx="145">
                  <c:v>88.592375631672681</c:v>
                </c:pt>
                <c:pt idx="146">
                  <c:v>99.440421627387707</c:v>
                </c:pt>
                <c:pt idx="147">
                  <c:v>117.29449732866867</c:v>
                </c:pt>
                <c:pt idx="148">
                  <c:v>134.01856823872933</c:v>
                </c:pt>
                <c:pt idx="149">
                  <c:v>135.82657590468185</c:v>
                </c:pt>
                <c:pt idx="150">
                  <c:v>143.51060848497997</c:v>
                </c:pt>
                <c:pt idx="151">
                  <c:v>158.87867364557624</c:v>
                </c:pt>
                <c:pt idx="152">
                  <c:v>156.61866406313564</c:v>
                </c:pt>
                <c:pt idx="153">
                  <c:v>188.93680109203663</c:v>
                </c:pt>
                <c:pt idx="154">
                  <c:v>208.14688254278198</c:v>
                </c:pt>
                <c:pt idx="155">
                  <c:v>218.54292662200891</c:v>
                </c:pt>
                <c:pt idx="156">
                  <c:v>242.9510301123677</c:v>
                </c:pt>
                <c:pt idx="157">
                  <c:v>265.55112593677399</c:v>
                </c:pt>
                <c:pt idx="158">
                  <c:v>260.35310389716051</c:v>
                </c:pt>
                <c:pt idx="159">
                  <c:v>268.94114031043489</c:v>
                </c:pt>
                <c:pt idx="160">
                  <c:v>268.94114031043489</c:v>
                </c:pt>
                <c:pt idx="161">
                  <c:v>291.99323805132934</c:v>
                </c:pt>
                <c:pt idx="162">
                  <c:v>321.82536453954566</c:v>
                </c:pt>
                <c:pt idx="163">
                  <c:v>350.75348719478569</c:v>
                </c:pt>
                <c:pt idx="164">
                  <c:v>368.15556097957852</c:v>
                </c:pt>
                <c:pt idx="165">
                  <c:v>395.50167692711022</c:v>
                </c:pt>
                <c:pt idx="166">
                  <c:v>418.32777370976049</c:v>
                </c:pt>
                <c:pt idx="167">
                  <c:v>440.02386570119057</c:v>
                </c:pt>
                <c:pt idx="168">
                  <c:v>484.09405255878289</c:v>
                </c:pt>
                <c:pt idx="169">
                  <c:v>488.38807076542003</c:v>
                </c:pt>
                <c:pt idx="170">
                  <c:v>511.66616946455855</c:v>
                </c:pt>
                <c:pt idx="171">
                  <c:v>594.6085211401296</c:v>
                </c:pt>
                <c:pt idx="172">
                  <c:v>608.62058055126158</c:v>
                </c:pt>
                <c:pt idx="173">
                  <c:v>630.31667254269155</c:v>
                </c:pt>
                <c:pt idx="174">
                  <c:v>670.31884215189075</c:v>
                </c:pt>
                <c:pt idx="175">
                  <c:v>727.49708458763871</c:v>
                </c:pt>
                <c:pt idx="176">
                  <c:v>791.90735768719651</c:v>
                </c:pt>
                <c:pt idx="177">
                  <c:v>926.37792784241412</c:v>
                </c:pt>
                <c:pt idx="178">
                  <c:v>954.40204666467787</c:v>
                </c:pt>
                <c:pt idx="179">
                  <c:v>966.83209936810135</c:v>
                </c:pt>
                <c:pt idx="180">
                  <c:v>964.34608882741657</c:v>
                </c:pt>
                <c:pt idx="181">
                  <c:v>965.92809553512507</c:v>
                </c:pt>
                <c:pt idx="182">
                  <c:v>969.77011182527417</c:v>
                </c:pt>
                <c:pt idx="183">
                  <c:v>1037.7964002567371</c:v>
                </c:pt>
                <c:pt idx="184">
                  <c:v>957.3400591218508</c:v>
                </c:pt>
                <c:pt idx="185">
                  <c:v>922.30991059402095</c:v>
                </c:pt>
                <c:pt idx="186">
                  <c:v>920.72790388631245</c:v>
                </c:pt>
                <c:pt idx="187">
                  <c:v>926.60392880065808</c:v>
                </c:pt>
                <c:pt idx="188">
                  <c:v>972.93412524069106</c:v>
                </c:pt>
                <c:pt idx="189">
                  <c:v>946.040011209647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C96-4C9B-A802-3CE62B6AE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C$122:$C$344</c:f>
              <c:numCache>
                <c:formatCode>General</c:formatCode>
                <c:ptCount val="22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C96-4C9B-A802-3CE62B6AE08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D$122:$D$344</c:f>
              <c:numCache>
                <c:formatCode>General</c:formatCode>
                <c:ptCount val="223"/>
                <c:pt idx="185" formatCode="0">
                  <c:v>984.23417315289407</c:v>
                </c:pt>
                <c:pt idx="186" formatCode="0">
                  <c:v>971.80412044947082</c:v>
                </c:pt>
                <c:pt idx="187" formatCode="0">
                  <c:v>957.56606008009464</c:v>
                </c:pt>
                <c:pt idx="188">
                  <c:v>943.78000162720684</c:v>
                </c:pt>
                <c:pt idx="189">
                  <c:v>930.89794700729533</c:v>
                </c:pt>
                <c:pt idx="190">
                  <c:v>915.98188376318717</c:v>
                </c:pt>
                <c:pt idx="191">
                  <c:v>897.44980518717409</c:v>
                </c:pt>
                <c:pt idx="192">
                  <c:v>880.27373236062522</c:v>
                </c:pt>
                <c:pt idx="193">
                  <c:v>864.67966624178484</c:v>
                </c:pt>
                <c:pt idx="194">
                  <c:v>849.98960395592087</c:v>
                </c:pt>
                <c:pt idx="195">
                  <c:v>835.29954167005667</c:v>
                </c:pt>
                <c:pt idx="196">
                  <c:v>820.38347842594851</c:v>
                </c:pt>
                <c:pt idx="197">
                  <c:v>805.01541326535221</c:v>
                </c:pt>
                <c:pt idx="198">
                  <c:v>790.09935002124416</c:v>
                </c:pt>
                <c:pt idx="199">
                  <c:v>776.08729061011218</c:v>
                </c:pt>
                <c:pt idx="200">
                  <c:v>762.52723311546845</c:v>
                </c:pt>
                <c:pt idx="201">
                  <c:v>748.96717562082461</c:v>
                </c:pt>
                <c:pt idx="202">
                  <c:v>735.40711812618088</c:v>
                </c:pt>
                <c:pt idx="203">
                  <c:v>722.07306158978122</c:v>
                </c:pt>
                <c:pt idx="204">
                  <c:v>708.96500601162552</c:v>
                </c:pt>
                <c:pt idx="205">
                  <c:v>696.30895234995796</c:v>
                </c:pt>
                <c:pt idx="206">
                  <c:v>683.87889964653448</c:v>
                </c:pt>
                <c:pt idx="207">
                  <c:v>671.67484790135507</c:v>
                </c:pt>
                <c:pt idx="208">
                  <c:v>659.69679711441972</c:v>
                </c:pt>
                <c:pt idx="209">
                  <c:v>647.94474728572845</c:v>
                </c:pt>
                <c:pt idx="210">
                  <c:v>636.41869841528126</c:v>
                </c:pt>
                <c:pt idx="211">
                  <c:v>625.11865050307813</c:v>
                </c:pt>
                <c:pt idx="212">
                  <c:v>614.04460354911907</c:v>
                </c:pt>
                <c:pt idx="213">
                  <c:v>603.19655755340398</c:v>
                </c:pt>
                <c:pt idx="214">
                  <c:v>592.57451251593307</c:v>
                </c:pt>
                <c:pt idx="215">
                  <c:v>582.17846843670623</c:v>
                </c:pt>
                <c:pt idx="216">
                  <c:v>571.78242435747927</c:v>
                </c:pt>
                <c:pt idx="217">
                  <c:v>561.61238123649639</c:v>
                </c:pt>
                <c:pt idx="218">
                  <c:v>551.66833907375769</c:v>
                </c:pt>
                <c:pt idx="219">
                  <c:v>541.95029786926295</c:v>
                </c:pt>
                <c:pt idx="220">
                  <c:v>532.45825762301229</c:v>
                </c:pt>
                <c:pt idx="221">
                  <c:v>522.96621737676173</c:v>
                </c:pt>
                <c:pt idx="222">
                  <c:v>513.700178088755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C96-4C9B-A802-3CE62B6AE08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E$122:$E$344</c:f>
              <c:numCache>
                <c:formatCode>General</c:formatCode>
                <c:ptCount val="223"/>
                <c:pt idx="185" formatCode="0">
                  <c:v>987.172185610067</c:v>
                </c:pt>
                <c:pt idx="186" formatCode="0">
                  <c:v>979.4881530297688</c:v>
                </c:pt>
                <c:pt idx="187" formatCode="0">
                  <c:v>970.90011661649453</c:v>
                </c:pt>
                <c:pt idx="188">
                  <c:v>963.44208499444039</c:v>
                </c:pt>
                <c:pt idx="189">
                  <c:v>957.79206103833883</c:v>
                </c:pt>
                <c:pt idx="190">
                  <c:v>951.23803324926087</c:v>
                </c:pt>
                <c:pt idx="191">
                  <c:v>942.42399587774241</c:v>
                </c:pt>
                <c:pt idx="192">
                  <c:v>933.60995850622407</c:v>
                </c:pt>
                <c:pt idx="193">
                  <c:v>925.24792305119365</c:v>
                </c:pt>
                <c:pt idx="194">
                  <c:v>917.78989142913963</c:v>
                </c:pt>
                <c:pt idx="195">
                  <c:v>910.55786076532968</c:v>
                </c:pt>
                <c:pt idx="196">
                  <c:v>903.32583010151961</c:v>
                </c:pt>
                <c:pt idx="197">
                  <c:v>895.41579656297745</c:v>
                </c:pt>
                <c:pt idx="198">
                  <c:v>887.50576302443517</c:v>
                </c:pt>
                <c:pt idx="199">
                  <c:v>879.82173044413707</c:v>
                </c:pt>
                <c:pt idx="200">
                  <c:v>872.58969978032712</c:v>
                </c:pt>
                <c:pt idx="201">
                  <c:v>865.35766911651694</c:v>
                </c:pt>
                <c:pt idx="202">
                  <c:v>858.12563845270711</c:v>
                </c:pt>
                <c:pt idx="203">
                  <c:v>850.66760683065297</c:v>
                </c:pt>
                <c:pt idx="204">
                  <c:v>843.43557616684291</c:v>
                </c:pt>
                <c:pt idx="205">
                  <c:v>836.20354550303296</c:v>
                </c:pt>
                <c:pt idx="206">
                  <c:v>829.19751579746696</c:v>
                </c:pt>
                <c:pt idx="207">
                  <c:v>822.41748705014516</c:v>
                </c:pt>
                <c:pt idx="208">
                  <c:v>815.63745830282323</c:v>
                </c:pt>
                <c:pt idx="209">
                  <c:v>808.63142859725724</c:v>
                </c:pt>
                <c:pt idx="210">
                  <c:v>801.85139984993543</c:v>
                </c:pt>
                <c:pt idx="211">
                  <c:v>795.07137110261351</c:v>
                </c:pt>
                <c:pt idx="212">
                  <c:v>788.51734331353566</c:v>
                </c:pt>
                <c:pt idx="213">
                  <c:v>781.96331552445793</c:v>
                </c:pt>
                <c:pt idx="214">
                  <c:v>775.40928773537996</c:v>
                </c:pt>
                <c:pt idx="215">
                  <c:v>768.85525994630211</c:v>
                </c:pt>
                <c:pt idx="216">
                  <c:v>762.52723311546845</c:v>
                </c:pt>
                <c:pt idx="217">
                  <c:v>756.19920628463467</c:v>
                </c:pt>
                <c:pt idx="218">
                  <c:v>749.87117945380089</c:v>
                </c:pt>
                <c:pt idx="219">
                  <c:v>743.54315262296711</c:v>
                </c:pt>
                <c:pt idx="220">
                  <c:v>737.44112675037741</c:v>
                </c:pt>
                <c:pt idx="221">
                  <c:v>731.3391008777877</c:v>
                </c:pt>
                <c:pt idx="222">
                  <c:v>725.237075005197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C96-4C9B-A802-3CE62B6AE08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F$122:$F$344</c:f>
              <c:numCache>
                <c:formatCode>General</c:formatCode>
                <c:ptCount val="223"/>
                <c:pt idx="185" formatCode="0">
                  <c:v>993.2742114826566</c:v>
                </c:pt>
                <c:pt idx="186" formatCode="0">
                  <c:v>995.08221914860928</c:v>
                </c:pt>
                <c:pt idx="187" formatCode="0">
                  <c:v>997.79423064753803</c:v>
                </c:pt>
                <c:pt idx="188">
                  <c:v>1002.7662517289074</c:v>
                </c:pt>
                <c:pt idx="189">
                  <c:v>1011.8062900586698</c:v>
                </c:pt>
                <c:pt idx="190">
                  <c:v>1022.6543360543849</c:v>
                </c:pt>
                <c:pt idx="191">
                  <c:v>1034.4063858830762</c:v>
                </c:pt>
                <c:pt idx="192">
                  <c:v>1043.2204232545946</c:v>
                </c:pt>
                <c:pt idx="193">
                  <c:v>1051.356457751381</c:v>
                </c:pt>
                <c:pt idx="194">
                  <c:v>1060.3964960811434</c:v>
                </c:pt>
                <c:pt idx="195">
                  <c:v>1071.0185411186144</c:v>
                </c:pt>
                <c:pt idx="196">
                  <c:v>1082.3185890308175</c:v>
                </c:pt>
                <c:pt idx="197">
                  <c:v>1093.1666350265325</c:v>
                </c:pt>
                <c:pt idx="198">
                  <c:v>1103.3366781475154</c:v>
                </c:pt>
                <c:pt idx="199">
                  <c:v>1113.0547193520101</c:v>
                </c:pt>
                <c:pt idx="200">
                  <c:v>1123.450763431237</c:v>
                </c:pt>
                <c:pt idx="201">
                  <c:v>1134.5248103851961</c:v>
                </c:pt>
                <c:pt idx="202">
                  <c:v>1145.824858297399</c:v>
                </c:pt>
                <c:pt idx="203">
                  <c:v>1156.8989052513582</c:v>
                </c:pt>
                <c:pt idx="204">
                  <c:v>1167.5209502888292</c:v>
                </c:pt>
                <c:pt idx="205">
                  <c:v>1178.3689962845442</c:v>
                </c:pt>
                <c:pt idx="206">
                  <c:v>1189.4430432385034</c:v>
                </c:pt>
                <c:pt idx="207">
                  <c:v>1200.9690921089505</c:v>
                </c:pt>
                <c:pt idx="208">
                  <c:v>1212.4951409793978</c:v>
                </c:pt>
                <c:pt idx="209">
                  <c:v>1224.0211898498451</c:v>
                </c:pt>
                <c:pt idx="210">
                  <c:v>1235.321237762048</c:v>
                </c:pt>
                <c:pt idx="211">
                  <c:v>1247.0732875907393</c:v>
                </c:pt>
                <c:pt idx="212">
                  <c:v>1258.8253374194305</c:v>
                </c:pt>
                <c:pt idx="213">
                  <c:v>1270.803388206366</c:v>
                </c:pt>
                <c:pt idx="214">
                  <c:v>1282.7814389933012</c:v>
                </c:pt>
                <c:pt idx="215">
                  <c:v>1294.9854907384808</c:v>
                </c:pt>
                <c:pt idx="216">
                  <c:v>1307.1895424836603</c:v>
                </c:pt>
                <c:pt idx="217">
                  <c:v>1319.6195951870836</c:v>
                </c:pt>
                <c:pt idx="218">
                  <c:v>1332.0496478905072</c:v>
                </c:pt>
                <c:pt idx="219">
                  <c:v>1344.7057015521746</c:v>
                </c:pt>
                <c:pt idx="220">
                  <c:v>1357.3617552138421</c:v>
                </c:pt>
                <c:pt idx="221">
                  <c:v>1370.2438098337536</c:v>
                </c:pt>
                <c:pt idx="222">
                  <c:v>1383.12586445366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2C96-4C9B-A802-3CE62B6AE08A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G$122:$G$344</c:f>
              <c:numCache>
                <c:formatCode>General</c:formatCode>
                <c:ptCount val="223"/>
                <c:pt idx="185" formatCode="0">
                  <c:v>996.4382248980736</c:v>
                </c:pt>
                <c:pt idx="186" formatCode="0">
                  <c:v>1002.9922526871513</c:v>
                </c:pt>
                <c:pt idx="187" formatCode="0">
                  <c:v>1011.3542881421818</c:v>
                </c:pt>
                <c:pt idx="188">
                  <c:v>1022.4283350961408</c:v>
                </c:pt>
                <c:pt idx="189">
                  <c:v>1038.9264050479574</c:v>
                </c:pt>
                <c:pt idx="190">
                  <c:v>1058.814489373435</c:v>
                </c:pt>
                <c:pt idx="191">
                  <c:v>1081.4145851978412</c:v>
                </c:pt>
                <c:pt idx="192">
                  <c:v>1099.4946618573663</c:v>
                </c:pt>
                <c:pt idx="193">
                  <c:v>1116.670734683915</c:v>
                </c:pt>
                <c:pt idx="194">
                  <c:v>1135.2028132599282</c:v>
                </c:pt>
                <c:pt idx="195">
                  <c:v>1156.4469033348701</c:v>
                </c:pt>
                <c:pt idx="196">
                  <c:v>1178.8209982010324</c:v>
                </c:pt>
                <c:pt idx="197">
                  <c:v>1200.9690921089505</c:v>
                </c:pt>
                <c:pt idx="198">
                  <c:v>1222.4391831421365</c:v>
                </c:pt>
                <c:pt idx="199">
                  <c:v>1243.4572722588343</c:v>
                </c:pt>
                <c:pt idx="200">
                  <c:v>1265.6053661667524</c:v>
                </c:pt>
                <c:pt idx="201">
                  <c:v>1288.883464865891</c:v>
                </c:pt>
                <c:pt idx="202">
                  <c:v>1312.8395664397617</c:v>
                </c:pt>
                <c:pt idx="203">
                  <c:v>1336.5696670553882</c:v>
                </c:pt>
                <c:pt idx="204">
                  <c:v>1360.2997676710149</c:v>
                </c:pt>
                <c:pt idx="205">
                  <c:v>1384.2558692448856</c:v>
                </c:pt>
                <c:pt idx="206">
                  <c:v>1409.1159746517326</c:v>
                </c:pt>
                <c:pt idx="207">
                  <c:v>1434.6540829333117</c:v>
                </c:pt>
                <c:pt idx="208">
                  <c:v>1460.6441931313789</c:v>
                </c:pt>
                <c:pt idx="209">
                  <c:v>1486.86030428769</c:v>
                </c:pt>
                <c:pt idx="210">
                  <c:v>1513.5284173604896</c:v>
                </c:pt>
                <c:pt idx="211">
                  <c:v>1540.648532349777</c:v>
                </c:pt>
                <c:pt idx="212">
                  <c:v>1568.4466502137968</c:v>
                </c:pt>
                <c:pt idx="213">
                  <c:v>1596.6967699943048</c:v>
                </c:pt>
                <c:pt idx="214">
                  <c:v>1625.3988916913008</c:v>
                </c:pt>
                <c:pt idx="215">
                  <c:v>1654.5530153047848</c:v>
                </c:pt>
                <c:pt idx="216">
                  <c:v>1684.159140834757</c:v>
                </c:pt>
                <c:pt idx="217">
                  <c:v>1714.2172682812175</c:v>
                </c:pt>
                <c:pt idx="218">
                  <c:v>1744.7273976441659</c:v>
                </c:pt>
                <c:pt idx="219">
                  <c:v>1775.9155298818469</c:v>
                </c:pt>
                <c:pt idx="220">
                  <c:v>1807.7816649942597</c:v>
                </c:pt>
                <c:pt idx="221">
                  <c:v>1840.0998020231607</c:v>
                </c:pt>
                <c:pt idx="222">
                  <c:v>1873.09594192679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2C96-4C9B-A802-3CE62B6AE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B$244:$B$497</c:f>
              <c:numCache>
                <c:formatCode>0</c:formatCode>
                <c:ptCount val="254"/>
                <c:pt idx="0">
                  <c:v>39</c:v>
                </c:pt>
                <c:pt idx="1">
                  <c:v>15</c:v>
                </c:pt>
                <c:pt idx="2">
                  <c:v>31</c:v>
                </c:pt>
                <c:pt idx="3">
                  <c:v>38</c:v>
                </c:pt>
                <c:pt idx="4">
                  <c:v>46</c:v>
                </c:pt>
                <c:pt idx="5">
                  <c:v>25</c:v>
                </c:pt>
                <c:pt idx="6">
                  <c:v>40</c:v>
                </c:pt>
                <c:pt idx="7">
                  <c:v>11</c:v>
                </c:pt>
                <c:pt idx="8">
                  <c:v>23</c:v>
                </c:pt>
                <c:pt idx="9">
                  <c:v>17</c:v>
                </c:pt>
                <c:pt idx="10">
                  <c:v>27</c:v>
                </c:pt>
                <c:pt idx="11">
                  <c:v>29</c:v>
                </c:pt>
                <c:pt idx="12">
                  <c:v>33</c:v>
                </c:pt>
                <c:pt idx="13">
                  <c:v>23</c:v>
                </c:pt>
                <c:pt idx="14">
                  <c:v>10</c:v>
                </c:pt>
                <c:pt idx="15">
                  <c:v>16</c:v>
                </c:pt>
                <c:pt idx="16">
                  <c:v>25</c:v>
                </c:pt>
                <c:pt idx="17">
                  <c:v>29</c:v>
                </c:pt>
                <c:pt idx="18">
                  <c:v>8</c:v>
                </c:pt>
                <c:pt idx="19">
                  <c:v>21</c:v>
                </c:pt>
                <c:pt idx="20">
                  <c:v>11</c:v>
                </c:pt>
                <c:pt idx="21">
                  <c:v>10</c:v>
                </c:pt>
                <c:pt idx="22">
                  <c:v>9</c:v>
                </c:pt>
                <c:pt idx="23">
                  <c:v>9</c:v>
                </c:pt>
                <c:pt idx="24">
                  <c:v>12</c:v>
                </c:pt>
                <c:pt idx="25">
                  <c:v>13</c:v>
                </c:pt>
                <c:pt idx="26">
                  <c:v>9</c:v>
                </c:pt>
                <c:pt idx="27">
                  <c:v>13</c:v>
                </c:pt>
                <c:pt idx="28">
                  <c:v>1</c:v>
                </c:pt>
                <c:pt idx="29">
                  <c:v>3</c:v>
                </c:pt>
                <c:pt idx="30">
                  <c:v>6</c:v>
                </c:pt>
                <c:pt idx="31">
                  <c:v>10</c:v>
                </c:pt>
                <c:pt idx="32">
                  <c:v>8</c:v>
                </c:pt>
                <c:pt idx="33">
                  <c:v>8</c:v>
                </c:pt>
                <c:pt idx="34">
                  <c:v>7</c:v>
                </c:pt>
                <c:pt idx="35">
                  <c:v>2</c:v>
                </c:pt>
                <c:pt idx="36">
                  <c:v>0</c:v>
                </c:pt>
                <c:pt idx="37">
                  <c:v>2</c:v>
                </c:pt>
                <c:pt idx="38">
                  <c:v>4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3</c:v>
                </c:pt>
                <c:pt idx="43">
                  <c:v>0</c:v>
                </c:pt>
                <c:pt idx="44">
                  <c:v>5</c:v>
                </c:pt>
                <c:pt idx="45">
                  <c:v>4</c:v>
                </c:pt>
                <c:pt idx="46">
                  <c:v>1</c:v>
                </c:pt>
                <c:pt idx="47">
                  <c:v>2</c:v>
                </c:pt>
                <c:pt idx="48">
                  <c:v>2</c:v>
                </c:pt>
                <c:pt idx="49">
                  <c:v>1</c:v>
                </c:pt>
                <c:pt idx="50">
                  <c:v>0</c:v>
                </c:pt>
                <c:pt idx="51">
                  <c:v>1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2</c:v>
                </c:pt>
                <c:pt idx="56">
                  <c:v>1</c:v>
                </c:pt>
                <c:pt idx="57">
                  <c:v>1</c:v>
                </c:pt>
                <c:pt idx="58">
                  <c:v>3</c:v>
                </c:pt>
                <c:pt idx="59">
                  <c:v>0</c:v>
                </c:pt>
                <c:pt idx="60">
                  <c:v>0</c:v>
                </c:pt>
                <c:pt idx="61">
                  <c:v>3</c:v>
                </c:pt>
                <c:pt idx="62">
                  <c:v>2</c:v>
                </c:pt>
                <c:pt idx="63">
                  <c:v>2</c:v>
                </c:pt>
                <c:pt idx="64">
                  <c:v>1</c:v>
                </c:pt>
                <c:pt idx="65">
                  <c:v>3</c:v>
                </c:pt>
                <c:pt idx="66">
                  <c:v>3</c:v>
                </c:pt>
                <c:pt idx="67">
                  <c:v>2</c:v>
                </c:pt>
                <c:pt idx="68">
                  <c:v>13</c:v>
                </c:pt>
                <c:pt idx="69">
                  <c:v>3</c:v>
                </c:pt>
                <c:pt idx="70">
                  <c:v>3</c:v>
                </c:pt>
                <c:pt idx="71">
                  <c:v>4</c:v>
                </c:pt>
                <c:pt idx="72">
                  <c:v>3</c:v>
                </c:pt>
                <c:pt idx="73">
                  <c:v>11</c:v>
                </c:pt>
                <c:pt idx="74">
                  <c:v>5</c:v>
                </c:pt>
                <c:pt idx="75">
                  <c:v>10</c:v>
                </c:pt>
                <c:pt idx="76">
                  <c:v>3</c:v>
                </c:pt>
                <c:pt idx="77">
                  <c:v>5</c:v>
                </c:pt>
                <c:pt idx="78">
                  <c:v>2</c:v>
                </c:pt>
                <c:pt idx="79">
                  <c:v>4</c:v>
                </c:pt>
                <c:pt idx="80">
                  <c:v>8</c:v>
                </c:pt>
                <c:pt idx="81">
                  <c:v>5</c:v>
                </c:pt>
                <c:pt idx="82">
                  <c:v>5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6</c:v>
                </c:pt>
                <c:pt idx="87">
                  <c:v>8</c:v>
                </c:pt>
                <c:pt idx="88">
                  <c:v>10</c:v>
                </c:pt>
                <c:pt idx="89">
                  <c:v>14</c:v>
                </c:pt>
                <c:pt idx="90">
                  <c:v>7</c:v>
                </c:pt>
                <c:pt idx="91">
                  <c:v>5</c:v>
                </c:pt>
                <c:pt idx="92">
                  <c:v>7</c:v>
                </c:pt>
                <c:pt idx="93">
                  <c:v>6</c:v>
                </c:pt>
                <c:pt idx="94">
                  <c:v>6</c:v>
                </c:pt>
                <c:pt idx="95">
                  <c:v>15</c:v>
                </c:pt>
                <c:pt idx="96">
                  <c:v>4</c:v>
                </c:pt>
                <c:pt idx="97">
                  <c:v>7</c:v>
                </c:pt>
                <c:pt idx="98">
                  <c:v>3</c:v>
                </c:pt>
                <c:pt idx="99">
                  <c:v>3</c:v>
                </c:pt>
                <c:pt idx="100">
                  <c:v>4</c:v>
                </c:pt>
                <c:pt idx="101">
                  <c:v>3</c:v>
                </c:pt>
                <c:pt idx="102">
                  <c:v>5</c:v>
                </c:pt>
                <c:pt idx="103">
                  <c:v>8</c:v>
                </c:pt>
                <c:pt idx="104">
                  <c:v>7</c:v>
                </c:pt>
                <c:pt idx="105">
                  <c:v>2</c:v>
                </c:pt>
                <c:pt idx="106">
                  <c:v>2</c:v>
                </c:pt>
                <c:pt idx="107">
                  <c:v>9</c:v>
                </c:pt>
                <c:pt idx="108">
                  <c:v>7</c:v>
                </c:pt>
                <c:pt idx="109">
                  <c:v>8</c:v>
                </c:pt>
                <c:pt idx="110">
                  <c:v>0</c:v>
                </c:pt>
                <c:pt idx="111">
                  <c:v>3</c:v>
                </c:pt>
                <c:pt idx="112">
                  <c:v>2</c:v>
                </c:pt>
                <c:pt idx="113">
                  <c:v>3</c:v>
                </c:pt>
                <c:pt idx="114">
                  <c:v>5</c:v>
                </c:pt>
                <c:pt idx="115">
                  <c:v>6</c:v>
                </c:pt>
                <c:pt idx="116">
                  <c:v>4</c:v>
                </c:pt>
                <c:pt idx="117">
                  <c:v>7</c:v>
                </c:pt>
                <c:pt idx="118">
                  <c:v>1</c:v>
                </c:pt>
                <c:pt idx="119">
                  <c:v>4</c:v>
                </c:pt>
                <c:pt idx="120">
                  <c:v>0</c:v>
                </c:pt>
                <c:pt idx="121">
                  <c:v>3</c:v>
                </c:pt>
                <c:pt idx="122">
                  <c:v>7</c:v>
                </c:pt>
                <c:pt idx="123">
                  <c:v>2</c:v>
                </c:pt>
                <c:pt idx="124">
                  <c:v>10</c:v>
                </c:pt>
                <c:pt idx="125">
                  <c:v>6</c:v>
                </c:pt>
                <c:pt idx="126">
                  <c:v>4</c:v>
                </c:pt>
                <c:pt idx="127">
                  <c:v>4</c:v>
                </c:pt>
                <c:pt idx="128">
                  <c:v>10</c:v>
                </c:pt>
                <c:pt idx="129">
                  <c:v>13</c:v>
                </c:pt>
                <c:pt idx="130">
                  <c:v>21</c:v>
                </c:pt>
                <c:pt idx="131">
                  <c:v>14</c:v>
                </c:pt>
                <c:pt idx="132">
                  <c:v>14</c:v>
                </c:pt>
                <c:pt idx="133">
                  <c:v>8</c:v>
                </c:pt>
                <c:pt idx="134">
                  <c:v>7</c:v>
                </c:pt>
                <c:pt idx="135">
                  <c:v>13</c:v>
                </c:pt>
                <c:pt idx="136">
                  <c:v>12</c:v>
                </c:pt>
                <c:pt idx="137">
                  <c:v>13</c:v>
                </c:pt>
                <c:pt idx="138">
                  <c:v>9</c:v>
                </c:pt>
                <c:pt idx="139">
                  <c:v>14</c:v>
                </c:pt>
                <c:pt idx="140">
                  <c:v>8</c:v>
                </c:pt>
                <c:pt idx="141">
                  <c:v>1</c:v>
                </c:pt>
                <c:pt idx="142">
                  <c:v>5</c:v>
                </c:pt>
                <c:pt idx="143">
                  <c:v>11</c:v>
                </c:pt>
                <c:pt idx="144">
                  <c:v>13</c:v>
                </c:pt>
                <c:pt idx="145">
                  <c:v>7</c:v>
                </c:pt>
                <c:pt idx="146">
                  <c:v>4</c:v>
                </c:pt>
                <c:pt idx="147">
                  <c:v>5</c:v>
                </c:pt>
                <c:pt idx="148">
                  <c:v>4</c:v>
                </c:pt>
                <c:pt idx="149">
                  <c:v>10</c:v>
                </c:pt>
                <c:pt idx="150">
                  <c:v>8</c:v>
                </c:pt>
                <c:pt idx="151">
                  <c:v>10</c:v>
                </c:pt>
                <c:pt idx="152">
                  <c:v>24</c:v>
                </c:pt>
                <c:pt idx="153">
                  <c:v>19</c:v>
                </c:pt>
                <c:pt idx="154">
                  <c:v>7</c:v>
                </c:pt>
                <c:pt idx="155">
                  <c:v>7</c:v>
                </c:pt>
                <c:pt idx="156">
                  <c:v>20</c:v>
                </c:pt>
                <c:pt idx="157">
                  <c:v>23</c:v>
                </c:pt>
                <c:pt idx="158">
                  <c:v>17</c:v>
                </c:pt>
                <c:pt idx="159">
                  <c:v>16</c:v>
                </c:pt>
                <c:pt idx="160">
                  <c:v>8</c:v>
                </c:pt>
                <c:pt idx="161">
                  <c:v>17</c:v>
                </c:pt>
                <c:pt idx="162">
                  <c:v>12</c:v>
                </c:pt>
                <c:pt idx="163">
                  <c:v>24</c:v>
                </c:pt>
                <c:pt idx="164">
                  <c:v>33</c:v>
                </c:pt>
                <c:pt idx="165">
                  <c:v>20</c:v>
                </c:pt>
                <c:pt idx="166">
                  <c:v>22</c:v>
                </c:pt>
                <c:pt idx="167">
                  <c:v>26</c:v>
                </c:pt>
                <c:pt idx="168">
                  <c:v>7</c:v>
                </c:pt>
                <c:pt idx="169">
                  <c:v>17</c:v>
                </c:pt>
                <c:pt idx="170">
                  <c:v>40</c:v>
                </c:pt>
                <c:pt idx="171">
                  <c:v>52</c:v>
                </c:pt>
                <c:pt idx="172">
                  <c:v>52</c:v>
                </c:pt>
                <c:pt idx="173">
                  <c:v>99</c:v>
                </c:pt>
                <c:pt idx="174">
                  <c:v>68</c:v>
                </c:pt>
                <c:pt idx="175">
                  <c:v>46</c:v>
                </c:pt>
                <c:pt idx="176">
                  <c:v>72</c:v>
                </c:pt>
                <c:pt idx="177">
                  <c:v>103</c:v>
                </c:pt>
                <c:pt idx="178">
                  <c:v>103</c:v>
                </c:pt>
                <c:pt idx="179">
                  <c:v>75</c:v>
                </c:pt>
                <c:pt idx="180">
                  <c:v>84</c:v>
                </c:pt>
                <c:pt idx="181">
                  <c:v>179</c:v>
                </c:pt>
                <c:pt idx="182">
                  <c:v>76</c:v>
                </c:pt>
                <c:pt idx="183">
                  <c:v>122</c:v>
                </c:pt>
                <c:pt idx="184">
                  <c:v>198</c:v>
                </c:pt>
                <c:pt idx="185">
                  <c:v>223</c:v>
                </c:pt>
                <c:pt idx="186">
                  <c:v>261</c:v>
                </c:pt>
                <c:pt idx="187">
                  <c:v>255</c:v>
                </c:pt>
                <c:pt idx="188">
                  <c:v>252</c:v>
                </c:pt>
                <c:pt idx="189">
                  <c:v>205</c:v>
                </c:pt>
                <c:pt idx="190">
                  <c:v>130</c:v>
                </c:pt>
                <c:pt idx="191">
                  <c:v>318</c:v>
                </c:pt>
                <c:pt idx="192">
                  <c:v>415</c:v>
                </c:pt>
                <c:pt idx="193">
                  <c:v>379</c:v>
                </c:pt>
                <c:pt idx="194">
                  <c:v>388</c:v>
                </c:pt>
                <c:pt idx="195">
                  <c:v>331</c:v>
                </c:pt>
                <c:pt idx="196">
                  <c:v>388</c:v>
                </c:pt>
                <c:pt idx="197">
                  <c:v>219</c:v>
                </c:pt>
                <c:pt idx="198">
                  <c:v>392</c:v>
                </c:pt>
                <c:pt idx="199">
                  <c:v>753</c:v>
                </c:pt>
                <c:pt idx="200">
                  <c:v>413</c:v>
                </c:pt>
                <c:pt idx="201">
                  <c:v>421</c:v>
                </c:pt>
                <c:pt idx="202">
                  <c:v>868</c:v>
                </c:pt>
                <c:pt idx="203">
                  <c:v>562</c:v>
                </c:pt>
                <c:pt idx="204">
                  <c:v>403</c:v>
                </c:pt>
                <c:pt idx="205">
                  <c:v>545</c:v>
                </c:pt>
                <c:pt idx="206">
                  <c:v>1039</c:v>
                </c:pt>
                <c:pt idx="207">
                  <c:v>632</c:v>
                </c:pt>
                <c:pt idx="208">
                  <c:v>1113</c:v>
                </c:pt>
                <c:pt idx="209">
                  <c:v>735</c:v>
                </c:pt>
                <c:pt idx="210">
                  <c:v>672</c:v>
                </c:pt>
                <c:pt idx="211">
                  <c:v>451</c:v>
                </c:pt>
                <c:pt idx="212">
                  <c:v>725</c:v>
                </c:pt>
                <c:pt idx="213">
                  <c:v>1177</c:v>
                </c:pt>
                <c:pt idx="214">
                  <c:v>898</c:v>
                </c:pt>
                <c:pt idx="215">
                  <c:v>810</c:v>
                </c:pt>
                <c:pt idx="216">
                  <c:v>751</c:v>
                </c:pt>
                <c:pt idx="217">
                  <c:v>639</c:v>
                </c:pt>
                <c:pt idx="218">
                  <c:v>403</c:v>
                </c:pt>
                <c:pt idx="219">
                  <c:v>721</c:v>
                </c:pt>
                <c:pt idx="220">
                  <c:v>9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15-49AF-9DEC-B2DA325881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C$244:$C$497</c:f>
              <c:numCache>
                <c:formatCode>General</c:formatCode>
                <c:ptCount val="25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5-49AF-9DEC-B2DA325881D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D$244:$D$497</c:f>
              <c:numCache>
                <c:formatCode>General</c:formatCode>
                <c:ptCount val="254"/>
                <c:pt idx="73">
                  <c:v>0</c:v>
                </c:pt>
                <c:pt idx="216">
                  <c:v>892</c:v>
                </c:pt>
                <c:pt idx="217">
                  <c:v>867</c:v>
                </c:pt>
                <c:pt idx="218">
                  <c:v>849</c:v>
                </c:pt>
                <c:pt idx="219">
                  <c:v>838</c:v>
                </c:pt>
                <c:pt idx="220">
                  <c:v>826</c:v>
                </c:pt>
                <c:pt idx="221">
                  <c:v>815</c:v>
                </c:pt>
                <c:pt idx="222">
                  <c:v>799</c:v>
                </c:pt>
                <c:pt idx="223">
                  <c:v>780</c:v>
                </c:pt>
                <c:pt idx="224">
                  <c:v>765</c:v>
                </c:pt>
                <c:pt idx="225">
                  <c:v>753</c:v>
                </c:pt>
                <c:pt idx="226">
                  <c:v>741</c:v>
                </c:pt>
                <c:pt idx="227">
                  <c:v>728</c:v>
                </c:pt>
                <c:pt idx="228">
                  <c:v>714</c:v>
                </c:pt>
                <c:pt idx="229">
                  <c:v>700</c:v>
                </c:pt>
                <c:pt idx="230">
                  <c:v>687</c:v>
                </c:pt>
                <c:pt idx="231">
                  <c:v>676</c:v>
                </c:pt>
                <c:pt idx="232">
                  <c:v>665</c:v>
                </c:pt>
                <c:pt idx="233">
                  <c:v>653</c:v>
                </c:pt>
                <c:pt idx="234">
                  <c:v>641</c:v>
                </c:pt>
                <c:pt idx="235">
                  <c:v>629</c:v>
                </c:pt>
                <c:pt idx="236">
                  <c:v>618</c:v>
                </c:pt>
                <c:pt idx="237">
                  <c:v>607</c:v>
                </c:pt>
                <c:pt idx="238">
                  <c:v>596</c:v>
                </c:pt>
                <c:pt idx="239">
                  <c:v>586</c:v>
                </c:pt>
                <c:pt idx="240">
                  <c:v>575</c:v>
                </c:pt>
                <c:pt idx="241">
                  <c:v>565</c:v>
                </c:pt>
                <c:pt idx="242">
                  <c:v>555</c:v>
                </c:pt>
                <c:pt idx="243">
                  <c:v>545</c:v>
                </c:pt>
                <c:pt idx="244">
                  <c:v>535</c:v>
                </c:pt>
                <c:pt idx="245">
                  <c:v>526</c:v>
                </c:pt>
                <c:pt idx="246">
                  <c:v>517</c:v>
                </c:pt>
                <c:pt idx="247">
                  <c:v>508</c:v>
                </c:pt>
                <c:pt idx="248">
                  <c:v>499</c:v>
                </c:pt>
                <c:pt idx="249">
                  <c:v>490</c:v>
                </c:pt>
                <c:pt idx="250">
                  <c:v>481</c:v>
                </c:pt>
                <c:pt idx="251">
                  <c:v>473</c:v>
                </c:pt>
                <c:pt idx="252">
                  <c:v>465</c:v>
                </c:pt>
                <c:pt idx="253">
                  <c:v>4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5-49AF-9DEC-B2DA325881D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E$244:$E$497</c:f>
              <c:numCache>
                <c:formatCode>General</c:formatCode>
                <c:ptCount val="254"/>
                <c:pt idx="216">
                  <c:v>912</c:v>
                </c:pt>
                <c:pt idx="217">
                  <c:v>898</c:v>
                </c:pt>
                <c:pt idx="218">
                  <c:v>886</c:v>
                </c:pt>
                <c:pt idx="219">
                  <c:v>879</c:v>
                </c:pt>
                <c:pt idx="220">
                  <c:v>874</c:v>
                </c:pt>
                <c:pt idx="221">
                  <c:v>870</c:v>
                </c:pt>
                <c:pt idx="222">
                  <c:v>863</c:v>
                </c:pt>
                <c:pt idx="223">
                  <c:v>853</c:v>
                </c:pt>
                <c:pt idx="224">
                  <c:v>844</c:v>
                </c:pt>
                <c:pt idx="225">
                  <c:v>837</c:v>
                </c:pt>
                <c:pt idx="226">
                  <c:v>832</c:v>
                </c:pt>
                <c:pt idx="227">
                  <c:v>825</c:v>
                </c:pt>
                <c:pt idx="228">
                  <c:v>818</c:v>
                </c:pt>
                <c:pt idx="229">
                  <c:v>811</c:v>
                </c:pt>
                <c:pt idx="230">
                  <c:v>803</c:v>
                </c:pt>
                <c:pt idx="231">
                  <c:v>796</c:v>
                </c:pt>
                <c:pt idx="232">
                  <c:v>790</c:v>
                </c:pt>
                <c:pt idx="233">
                  <c:v>784</c:v>
                </c:pt>
                <c:pt idx="234">
                  <c:v>777</c:v>
                </c:pt>
                <c:pt idx="235">
                  <c:v>770</c:v>
                </c:pt>
                <c:pt idx="236">
                  <c:v>764</c:v>
                </c:pt>
                <c:pt idx="237">
                  <c:v>757</c:v>
                </c:pt>
                <c:pt idx="238">
                  <c:v>751</c:v>
                </c:pt>
                <c:pt idx="239">
                  <c:v>745</c:v>
                </c:pt>
                <c:pt idx="240">
                  <c:v>739</c:v>
                </c:pt>
                <c:pt idx="241">
                  <c:v>732</c:v>
                </c:pt>
                <c:pt idx="242">
                  <c:v>726</c:v>
                </c:pt>
                <c:pt idx="243">
                  <c:v>720</c:v>
                </c:pt>
                <c:pt idx="244">
                  <c:v>714</c:v>
                </c:pt>
                <c:pt idx="245">
                  <c:v>708</c:v>
                </c:pt>
                <c:pt idx="246">
                  <c:v>703</c:v>
                </c:pt>
                <c:pt idx="247">
                  <c:v>697</c:v>
                </c:pt>
                <c:pt idx="248">
                  <c:v>691</c:v>
                </c:pt>
                <c:pt idx="249">
                  <c:v>685</c:v>
                </c:pt>
                <c:pt idx="250">
                  <c:v>680</c:v>
                </c:pt>
                <c:pt idx="251">
                  <c:v>674</c:v>
                </c:pt>
                <c:pt idx="252">
                  <c:v>668</c:v>
                </c:pt>
                <c:pt idx="253">
                  <c:v>6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215-49AF-9DEC-B2DA325881D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F$244:$F$497</c:f>
              <c:numCache>
                <c:formatCode>General</c:formatCode>
                <c:ptCount val="254"/>
                <c:pt idx="216">
                  <c:v>952</c:v>
                </c:pt>
                <c:pt idx="217">
                  <c:v>960</c:v>
                </c:pt>
                <c:pt idx="218">
                  <c:v>960</c:v>
                </c:pt>
                <c:pt idx="219">
                  <c:v>960</c:v>
                </c:pt>
                <c:pt idx="220">
                  <c:v>969</c:v>
                </c:pt>
                <c:pt idx="221">
                  <c:v>985</c:v>
                </c:pt>
                <c:pt idx="222">
                  <c:v>998</c:v>
                </c:pt>
                <c:pt idx="223">
                  <c:v>1009</c:v>
                </c:pt>
                <c:pt idx="224">
                  <c:v>1014</c:v>
                </c:pt>
                <c:pt idx="225">
                  <c:v>1020</c:v>
                </c:pt>
                <c:pt idx="226">
                  <c:v>1030</c:v>
                </c:pt>
                <c:pt idx="227">
                  <c:v>1043</c:v>
                </c:pt>
                <c:pt idx="228">
                  <c:v>1055</c:v>
                </c:pt>
                <c:pt idx="229">
                  <c:v>1064</c:v>
                </c:pt>
                <c:pt idx="230">
                  <c:v>1073</c:v>
                </c:pt>
                <c:pt idx="231">
                  <c:v>1082</c:v>
                </c:pt>
                <c:pt idx="232">
                  <c:v>1093</c:v>
                </c:pt>
                <c:pt idx="233">
                  <c:v>1104</c:v>
                </c:pt>
                <c:pt idx="234">
                  <c:v>1116</c:v>
                </c:pt>
                <c:pt idx="235">
                  <c:v>1126</c:v>
                </c:pt>
                <c:pt idx="236">
                  <c:v>1136</c:v>
                </c:pt>
                <c:pt idx="237">
                  <c:v>1146</c:v>
                </c:pt>
                <c:pt idx="238">
                  <c:v>1157</c:v>
                </c:pt>
                <c:pt idx="239">
                  <c:v>1169</c:v>
                </c:pt>
                <c:pt idx="240">
                  <c:v>1180</c:v>
                </c:pt>
                <c:pt idx="241">
                  <c:v>1191</c:v>
                </c:pt>
                <c:pt idx="242">
                  <c:v>1202</c:v>
                </c:pt>
                <c:pt idx="243">
                  <c:v>1213</c:v>
                </c:pt>
                <c:pt idx="244">
                  <c:v>1225</c:v>
                </c:pt>
                <c:pt idx="245">
                  <c:v>1237</c:v>
                </c:pt>
                <c:pt idx="246">
                  <c:v>1248</c:v>
                </c:pt>
                <c:pt idx="247">
                  <c:v>1260</c:v>
                </c:pt>
                <c:pt idx="248">
                  <c:v>1272</c:v>
                </c:pt>
                <c:pt idx="249">
                  <c:v>1284</c:v>
                </c:pt>
                <c:pt idx="250">
                  <c:v>1296</c:v>
                </c:pt>
                <c:pt idx="251">
                  <c:v>1308</c:v>
                </c:pt>
                <c:pt idx="252">
                  <c:v>1320</c:v>
                </c:pt>
                <c:pt idx="253">
                  <c:v>13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215-49AF-9DEC-B2DA325881DF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G$244:$G$497</c:f>
              <c:numCache>
                <c:formatCode>General</c:formatCode>
                <c:ptCount val="254"/>
                <c:pt idx="216">
                  <c:v>972</c:v>
                </c:pt>
                <c:pt idx="217">
                  <c:v>991</c:v>
                </c:pt>
                <c:pt idx="218">
                  <c:v>998</c:v>
                </c:pt>
                <c:pt idx="219">
                  <c:v>1001</c:v>
                </c:pt>
                <c:pt idx="220">
                  <c:v>1018</c:v>
                </c:pt>
                <c:pt idx="221">
                  <c:v>1044</c:v>
                </c:pt>
                <c:pt idx="222">
                  <c:v>1069</c:v>
                </c:pt>
                <c:pt idx="223">
                  <c:v>1092</c:v>
                </c:pt>
                <c:pt idx="224">
                  <c:v>1105</c:v>
                </c:pt>
                <c:pt idx="225">
                  <c:v>1120</c:v>
                </c:pt>
                <c:pt idx="226">
                  <c:v>1139</c:v>
                </c:pt>
                <c:pt idx="227">
                  <c:v>1165</c:v>
                </c:pt>
                <c:pt idx="228">
                  <c:v>1189</c:v>
                </c:pt>
                <c:pt idx="229">
                  <c:v>1209</c:v>
                </c:pt>
                <c:pt idx="230">
                  <c:v>1229</c:v>
                </c:pt>
                <c:pt idx="231">
                  <c:v>1249</c:v>
                </c:pt>
                <c:pt idx="232">
                  <c:v>1272</c:v>
                </c:pt>
                <c:pt idx="233">
                  <c:v>1297</c:v>
                </c:pt>
                <c:pt idx="234">
                  <c:v>1321</c:v>
                </c:pt>
                <c:pt idx="235">
                  <c:v>1345</c:v>
                </c:pt>
                <c:pt idx="236">
                  <c:v>1367</c:v>
                </c:pt>
                <c:pt idx="237">
                  <c:v>1391</c:v>
                </c:pt>
                <c:pt idx="238">
                  <c:v>1417</c:v>
                </c:pt>
                <c:pt idx="239">
                  <c:v>1443</c:v>
                </c:pt>
                <c:pt idx="240">
                  <c:v>1469</c:v>
                </c:pt>
                <c:pt idx="241">
                  <c:v>1495</c:v>
                </c:pt>
                <c:pt idx="242">
                  <c:v>1522</c:v>
                </c:pt>
                <c:pt idx="243">
                  <c:v>1549</c:v>
                </c:pt>
                <c:pt idx="244">
                  <c:v>1577</c:v>
                </c:pt>
                <c:pt idx="245">
                  <c:v>1605</c:v>
                </c:pt>
                <c:pt idx="246">
                  <c:v>1634</c:v>
                </c:pt>
                <c:pt idx="247">
                  <c:v>1663</c:v>
                </c:pt>
                <c:pt idx="248">
                  <c:v>1693</c:v>
                </c:pt>
                <c:pt idx="249">
                  <c:v>1723</c:v>
                </c:pt>
                <c:pt idx="250">
                  <c:v>1754</c:v>
                </c:pt>
                <c:pt idx="251">
                  <c:v>1786</c:v>
                </c:pt>
                <c:pt idx="252">
                  <c:v>1818</c:v>
                </c:pt>
                <c:pt idx="253">
                  <c:v>18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215-49AF-9DEC-B2DA325881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H$122:$H$344</c:f>
              <c:numCache>
                <c:formatCode>0</c:formatCode>
                <c:ptCount val="22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  <c:pt idx="188" formatCode="General">
                  <c:v>100</c:v>
                </c:pt>
                <c:pt idx="189" formatCode="General">
                  <c:v>100</c:v>
                </c:pt>
                <c:pt idx="190" formatCode="General">
                  <c:v>100</c:v>
                </c:pt>
                <c:pt idx="191" formatCode="General">
                  <c:v>100</c:v>
                </c:pt>
                <c:pt idx="192" formatCode="General">
                  <c:v>100</c:v>
                </c:pt>
                <c:pt idx="193" formatCode="General">
                  <c:v>100</c:v>
                </c:pt>
                <c:pt idx="194" formatCode="General">
                  <c:v>100</c:v>
                </c:pt>
                <c:pt idx="195" formatCode="General">
                  <c:v>100</c:v>
                </c:pt>
                <c:pt idx="196" formatCode="General">
                  <c:v>100</c:v>
                </c:pt>
                <c:pt idx="197" formatCode="General">
                  <c:v>100</c:v>
                </c:pt>
                <c:pt idx="198" formatCode="General">
                  <c:v>100</c:v>
                </c:pt>
                <c:pt idx="199" formatCode="General">
                  <c:v>100</c:v>
                </c:pt>
                <c:pt idx="200" formatCode="General">
                  <c:v>100</c:v>
                </c:pt>
                <c:pt idx="201" formatCode="General">
                  <c:v>100</c:v>
                </c:pt>
                <c:pt idx="202" formatCode="General">
                  <c:v>100</c:v>
                </c:pt>
                <c:pt idx="203" formatCode="General">
                  <c:v>100</c:v>
                </c:pt>
                <c:pt idx="204" formatCode="General">
                  <c:v>100</c:v>
                </c:pt>
                <c:pt idx="205" formatCode="General">
                  <c:v>100</c:v>
                </c:pt>
                <c:pt idx="206" formatCode="General">
                  <c:v>100</c:v>
                </c:pt>
                <c:pt idx="207" formatCode="General">
                  <c:v>100</c:v>
                </c:pt>
                <c:pt idx="208" formatCode="General">
                  <c:v>100</c:v>
                </c:pt>
                <c:pt idx="209" formatCode="General">
                  <c:v>100</c:v>
                </c:pt>
                <c:pt idx="210" formatCode="General">
                  <c:v>100</c:v>
                </c:pt>
                <c:pt idx="211" formatCode="General">
                  <c:v>100</c:v>
                </c:pt>
                <c:pt idx="212" formatCode="General">
                  <c:v>100</c:v>
                </c:pt>
                <c:pt idx="213" formatCode="General">
                  <c:v>100</c:v>
                </c:pt>
                <c:pt idx="214" formatCode="General">
                  <c:v>100</c:v>
                </c:pt>
                <c:pt idx="215" formatCode="General">
                  <c:v>100</c:v>
                </c:pt>
                <c:pt idx="216" formatCode="General">
                  <c:v>100</c:v>
                </c:pt>
                <c:pt idx="217" formatCode="General">
                  <c:v>100</c:v>
                </c:pt>
                <c:pt idx="218" formatCode="General">
                  <c:v>100</c:v>
                </c:pt>
                <c:pt idx="219" formatCode="General">
                  <c:v>100</c:v>
                </c:pt>
                <c:pt idx="220" formatCode="General">
                  <c:v>100</c:v>
                </c:pt>
                <c:pt idx="221" formatCode="General">
                  <c:v>100</c:v>
                </c:pt>
                <c:pt idx="222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B7-42F9-96E3-A51B38B8C2B0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I$122:$I$344</c:f>
              <c:numCache>
                <c:formatCode>0</c:formatCode>
                <c:ptCount val="22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  <c:pt idx="188" formatCode="General">
                  <c:v>50</c:v>
                </c:pt>
                <c:pt idx="189" formatCode="General">
                  <c:v>50</c:v>
                </c:pt>
                <c:pt idx="190" formatCode="General">
                  <c:v>50</c:v>
                </c:pt>
                <c:pt idx="191" formatCode="General">
                  <c:v>50</c:v>
                </c:pt>
                <c:pt idx="192" formatCode="General">
                  <c:v>50</c:v>
                </c:pt>
                <c:pt idx="193" formatCode="General">
                  <c:v>50</c:v>
                </c:pt>
                <c:pt idx="194" formatCode="General">
                  <c:v>50</c:v>
                </c:pt>
                <c:pt idx="195" formatCode="General">
                  <c:v>50</c:v>
                </c:pt>
                <c:pt idx="196" formatCode="General">
                  <c:v>50</c:v>
                </c:pt>
                <c:pt idx="197" formatCode="General">
                  <c:v>50</c:v>
                </c:pt>
                <c:pt idx="198" formatCode="General">
                  <c:v>50</c:v>
                </c:pt>
                <c:pt idx="199" formatCode="General">
                  <c:v>50</c:v>
                </c:pt>
                <c:pt idx="200" formatCode="General">
                  <c:v>50</c:v>
                </c:pt>
                <c:pt idx="201" formatCode="General">
                  <c:v>50</c:v>
                </c:pt>
                <c:pt idx="202" formatCode="General">
                  <c:v>50</c:v>
                </c:pt>
                <c:pt idx="203" formatCode="General">
                  <c:v>50</c:v>
                </c:pt>
                <c:pt idx="204" formatCode="General">
                  <c:v>50</c:v>
                </c:pt>
                <c:pt idx="205" formatCode="General">
                  <c:v>50</c:v>
                </c:pt>
                <c:pt idx="206" formatCode="General">
                  <c:v>50</c:v>
                </c:pt>
                <c:pt idx="207" formatCode="General">
                  <c:v>50</c:v>
                </c:pt>
                <c:pt idx="208" formatCode="General">
                  <c:v>50</c:v>
                </c:pt>
                <c:pt idx="209" formatCode="General">
                  <c:v>50</c:v>
                </c:pt>
                <c:pt idx="210" formatCode="General">
                  <c:v>50</c:v>
                </c:pt>
                <c:pt idx="211" formatCode="General">
                  <c:v>50</c:v>
                </c:pt>
                <c:pt idx="212" formatCode="General">
                  <c:v>50</c:v>
                </c:pt>
                <c:pt idx="213" formatCode="General">
                  <c:v>50</c:v>
                </c:pt>
                <c:pt idx="214" formatCode="General">
                  <c:v>50</c:v>
                </c:pt>
                <c:pt idx="215" formatCode="General">
                  <c:v>50</c:v>
                </c:pt>
                <c:pt idx="216" formatCode="General">
                  <c:v>50</c:v>
                </c:pt>
                <c:pt idx="217" formatCode="General">
                  <c:v>50</c:v>
                </c:pt>
                <c:pt idx="218" formatCode="General">
                  <c:v>50</c:v>
                </c:pt>
                <c:pt idx="219" formatCode="General">
                  <c:v>50</c:v>
                </c:pt>
                <c:pt idx="220" formatCode="General">
                  <c:v>50</c:v>
                </c:pt>
                <c:pt idx="221" formatCode="General">
                  <c:v>50</c:v>
                </c:pt>
                <c:pt idx="222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CB7-42F9-96E3-A51B38B8C2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B$122:$B$344</c:f>
              <c:numCache>
                <c:formatCode>0</c:formatCode>
                <c:ptCount val="223"/>
                <c:pt idx="0">
                  <c:v>9.985421284924012</c:v>
                </c:pt>
                <c:pt idx="1">
                  <c:v>9.0776557135672835</c:v>
                </c:pt>
                <c:pt idx="2">
                  <c:v>8.8961025992959382</c:v>
                </c:pt>
                <c:pt idx="3">
                  <c:v>7.8067839136678634</c:v>
                </c:pt>
                <c:pt idx="4">
                  <c:v>7.9883370279392087</c:v>
                </c:pt>
                <c:pt idx="5">
                  <c:v>7.4436776851251718</c:v>
                </c:pt>
                <c:pt idx="6">
                  <c:v>6.7174652280397895</c:v>
                </c:pt>
                <c:pt idx="7">
                  <c:v>5.6281465424117156</c:v>
                </c:pt>
                <c:pt idx="8">
                  <c:v>4.7203809710549871</c:v>
                </c:pt>
                <c:pt idx="9">
                  <c:v>3.4495091711555674</c:v>
                </c:pt>
                <c:pt idx="10">
                  <c:v>2.7232967140701847</c:v>
                </c:pt>
                <c:pt idx="11">
                  <c:v>2.9048498283415305</c:v>
                </c:pt>
                <c:pt idx="12">
                  <c:v>2.9048498283415305</c:v>
                </c:pt>
                <c:pt idx="13">
                  <c:v>3.4495091711555674</c:v>
                </c:pt>
                <c:pt idx="14">
                  <c:v>3.4495091711555674</c:v>
                </c:pt>
                <c:pt idx="15">
                  <c:v>3.0864029426128758</c:v>
                </c:pt>
                <c:pt idx="16">
                  <c:v>3.2679560568842216</c:v>
                </c:pt>
                <c:pt idx="17">
                  <c:v>3.0864029426128758</c:v>
                </c:pt>
                <c:pt idx="18">
                  <c:v>2.7232967140701847</c:v>
                </c:pt>
                <c:pt idx="19">
                  <c:v>2.7232967140701847</c:v>
                </c:pt>
                <c:pt idx="20">
                  <c:v>1.9970842569848022</c:v>
                </c:pt>
                <c:pt idx="21">
                  <c:v>1.2708717998994197</c:v>
                </c:pt>
                <c:pt idx="22">
                  <c:v>1.0893186856280739</c:v>
                </c:pt>
                <c:pt idx="23">
                  <c:v>0.72621245708538262</c:v>
                </c:pt>
                <c:pt idx="24">
                  <c:v>0.72621245708538262</c:v>
                </c:pt>
                <c:pt idx="25">
                  <c:v>0.72621245708538262</c:v>
                </c:pt>
                <c:pt idx="26">
                  <c:v>0.90776557135672831</c:v>
                </c:pt>
                <c:pt idx="27">
                  <c:v>1.2708717998994197</c:v>
                </c:pt>
                <c:pt idx="28">
                  <c:v>1.2708717998994197</c:v>
                </c:pt>
                <c:pt idx="29">
                  <c:v>1.2708717998994197</c:v>
                </c:pt>
                <c:pt idx="30">
                  <c:v>1.8155311427134566</c:v>
                </c:pt>
                <c:pt idx="31">
                  <c:v>1.8155311427134566</c:v>
                </c:pt>
                <c:pt idx="32">
                  <c:v>1.9970842569848022</c:v>
                </c:pt>
                <c:pt idx="33">
                  <c:v>1.9970842569848022</c:v>
                </c:pt>
                <c:pt idx="34">
                  <c:v>1.9970842569848022</c:v>
                </c:pt>
                <c:pt idx="35">
                  <c:v>2.5417435997988393</c:v>
                </c:pt>
                <c:pt idx="36">
                  <c:v>2.9048498283415305</c:v>
                </c:pt>
                <c:pt idx="37">
                  <c:v>4.7203809710549871</c:v>
                </c:pt>
                <c:pt idx="38">
                  <c:v>4.9019340853263325</c:v>
                </c:pt>
                <c:pt idx="39">
                  <c:v>5.0834871995976787</c:v>
                </c:pt>
                <c:pt idx="40">
                  <c:v>5.6281465424117156</c:v>
                </c:pt>
                <c:pt idx="41">
                  <c:v>5.6281465424117156</c:v>
                </c:pt>
                <c:pt idx="42">
                  <c:v>7.0805714565824802</c:v>
                </c:pt>
                <c:pt idx="43">
                  <c:v>7.6252307993965172</c:v>
                </c:pt>
                <c:pt idx="44">
                  <c:v>7.0805714565824802</c:v>
                </c:pt>
                <c:pt idx="45">
                  <c:v>7.0805714565824802</c:v>
                </c:pt>
                <c:pt idx="46">
                  <c:v>7.4436776851251718</c:v>
                </c:pt>
                <c:pt idx="47">
                  <c:v>7.0805714565824802</c:v>
                </c:pt>
                <c:pt idx="48">
                  <c:v>7.2621245708538265</c:v>
                </c:pt>
                <c:pt idx="49">
                  <c:v>6.7174652280397895</c:v>
                </c:pt>
                <c:pt idx="50">
                  <c:v>6.7174652280397895</c:v>
                </c:pt>
                <c:pt idx="51">
                  <c:v>5.809699656683061</c:v>
                </c:pt>
                <c:pt idx="52">
                  <c:v>5.4465934281403694</c:v>
                </c:pt>
                <c:pt idx="53">
                  <c:v>4.7203809710549871</c:v>
                </c:pt>
                <c:pt idx="54">
                  <c:v>4.5388278567836418</c:v>
                </c:pt>
                <c:pt idx="55">
                  <c:v>4.9019340853263325</c:v>
                </c:pt>
                <c:pt idx="56">
                  <c:v>4.9019340853263325</c:v>
                </c:pt>
                <c:pt idx="57">
                  <c:v>5.809699656683061</c:v>
                </c:pt>
                <c:pt idx="58">
                  <c:v>7.4436776851251718</c:v>
                </c:pt>
                <c:pt idx="59">
                  <c:v>8.5329963707532457</c:v>
                </c:pt>
                <c:pt idx="60">
                  <c:v>9.2592088278386289</c:v>
                </c:pt>
                <c:pt idx="61">
                  <c:v>10.348527513466703</c:v>
                </c:pt>
                <c:pt idx="62">
                  <c:v>10.348527513466703</c:v>
                </c:pt>
                <c:pt idx="63">
                  <c:v>9.985421284924012</c:v>
                </c:pt>
                <c:pt idx="64">
                  <c:v>10.893186856280739</c:v>
                </c:pt>
                <c:pt idx="65">
                  <c:v>9.0776557135672835</c:v>
                </c:pt>
                <c:pt idx="66">
                  <c:v>9.0776557135672835</c:v>
                </c:pt>
                <c:pt idx="67">
                  <c:v>8.714549485024591</c:v>
                </c:pt>
                <c:pt idx="68">
                  <c:v>7.9883370279392087</c:v>
                </c:pt>
                <c:pt idx="69">
                  <c:v>7.6252307993965172</c:v>
                </c:pt>
                <c:pt idx="70">
                  <c:v>7.0805714565824802</c:v>
                </c:pt>
                <c:pt idx="71">
                  <c:v>5.265040313869024</c:v>
                </c:pt>
                <c:pt idx="72">
                  <c:v>5.9912527709544063</c:v>
                </c:pt>
                <c:pt idx="73">
                  <c:v>5.9912527709544063</c:v>
                </c:pt>
                <c:pt idx="74">
                  <c:v>5.809699656683061</c:v>
                </c:pt>
                <c:pt idx="75">
                  <c:v>5.6281465424117156</c:v>
                </c:pt>
                <c:pt idx="76">
                  <c:v>6.5359121137684433</c:v>
                </c:pt>
                <c:pt idx="77">
                  <c:v>7.2621245708538265</c:v>
                </c:pt>
                <c:pt idx="78">
                  <c:v>7.8067839136678634</c:v>
                </c:pt>
                <c:pt idx="79">
                  <c:v>6.3543589994970979</c:v>
                </c:pt>
                <c:pt idx="80">
                  <c:v>5.6281465424117156</c:v>
                </c:pt>
                <c:pt idx="81">
                  <c:v>5.6281465424117156</c:v>
                </c:pt>
                <c:pt idx="82">
                  <c:v>5.809699656683061</c:v>
                </c:pt>
                <c:pt idx="83">
                  <c:v>5.0834871995976787</c:v>
                </c:pt>
                <c:pt idx="84">
                  <c:v>4.9019340853263325</c:v>
                </c:pt>
                <c:pt idx="85">
                  <c:v>4.1757216282409502</c:v>
                </c:pt>
                <c:pt idx="86">
                  <c:v>5.4465934281403694</c:v>
                </c:pt>
                <c:pt idx="87">
                  <c:v>5.0834871995976787</c:v>
                </c:pt>
                <c:pt idx="88">
                  <c:v>5.4465934281403694</c:v>
                </c:pt>
                <c:pt idx="89">
                  <c:v>4.9019340853263325</c:v>
                </c:pt>
                <c:pt idx="90">
                  <c:v>4.5388278567836418</c:v>
                </c:pt>
                <c:pt idx="91">
                  <c:v>4.7203809710549871</c:v>
                </c:pt>
                <c:pt idx="92">
                  <c:v>4.3572747425122955</c:v>
                </c:pt>
                <c:pt idx="93">
                  <c:v>4.9019340853263325</c:v>
                </c:pt>
                <c:pt idx="94">
                  <c:v>5.809699656683061</c:v>
                </c:pt>
                <c:pt idx="95">
                  <c:v>5.809699656683061</c:v>
                </c:pt>
                <c:pt idx="96">
                  <c:v>6.5359121137684433</c:v>
                </c:pt>
                <c:pt idx="97">
                  <c:v>7.8067839136678634</c:v>
                </c:pt>
                <c:pt idx="98">
                  <c:v>8.8961025992959382</c:v>
                </c:pt>
                <c:pt idx="99">
                  <c:v>12.345611770451503</c:v>
                </c:pt>
                <c:pt idx="100">
                  <c:v>13.071824227536887</c:v>
                </c:pt>
                <c:pt idx="101">
                  <c:v>14.524249141707653</c:v>
                </c:pt>
                <c:pt idx="102">
                  <c:v>15.250461598793034</c:v>
                </c:pt>
                <c:pt idx="103">
                  <c:v>15.795120941607072</c:v>
                </c:pt>
                <c:pt idx="104">
                  <c:v>16.33978028442111</c:v>
                </c:pt>
                <c:pt idx="105">
                  <c:v>16.158227170149765</c:v>
                </c:pt>
                <c:pt idx="106">
                  <c:v>14.705802255978998</c:v>
                </c:pt>
                <c:pt idx="107">
                  <c:v>13.79803668462227</c:v>
                </c:pt>
                <c:pt idx="108">
                  <c:v>13.79803668462227</c:v>
                </c:pt>
                <c:pt idx="109">
                  <c:v>13.79803668462227</c:v>
                </c:pt>
                <c:pt idx="110">
                  <c:v>12.708717998994196</c:v>
                </c:pt>
                <c:pt idx="111">
                  <c:v>11.256293084823431</c:v>
                </c:pt>
                <c:pt idx="112">
                  <c:v>11.074739970552086</c:v>
                </c:pt>
                <c:pt idx="113">
                  <c:v>11.074739970552086</c:v>
                </c:pt>
                <c:pt idx="114">
                  <c:v>10.711633742009393</c:v>
                </c:pt>
                <c:pt idx="115">
                  <c:v>8.8961025992959382</c:v>
                </c:pt>
                <c:pt idx="116">
                  <c:v>8.3514432564819003</c:v>
                </c:pt>
                <c:pt idx="117">
                  <c:v>8.8961025992959382</c:v>
                </c:pt>
                <c:pt idx="118">
                  <c:v>9.8038681706526649</c:v>
                </c:pt>
                <c:pt idx="119">
                  <c:v>9.2592088278386289</c:v>
                </c:pt>
                <c:pt idx="120">
                  <c:v>8.714549485024591</c:v>
                </c:pt>
                <c:pt idx="121">
                  <c:v>11.800952427637467</c:v>
                </c:pt>
                <c:pt idx="122">
                  <c:v>14.524249141707653</c:v>
                </c:pt>
                <c:pt idx="123">
                  <c:v>14.887355370250344</c:v>
                </c:pt>
                <c:pt idx="124">
                  <c:v>15.43201471306438</c:v>
                </c:pt>
                <c:pt idx="125">
                  <c:v>17.247545855777837</c:v>
                </c:pt>
                <c:pt idx="126">
                  <c:v>19.970842569848024</c:v>
                </c:pt>
                <c:pt idx="127">
                  <c:v>21.241714369747442</c:v>
                </c:pt>
                <c:pt idx="128">
                  <c:v>19.789289455576675</c:v>
                </c:pt>
                <c:pt idx="129">
                  <c:v>17.792205198591876</c:v>
                </c:pt>
                <c:pt idx="130">
                  <c:v>19.60773634130533</c:v>
                </c:pt>
                <c:pt idx="131">
                  <c:v>20.51550191266206</c:v>
                </c:pt>
                <c:pt idx="132">
                  <c:v>21.241714369747442</c:v>
                </c:pt>
                <c:pt idx="133">
                  <c:v>23.057245512460895</c:v>
                </c:pt>
                <c:pt idx="134">
                  <c:v>23.601904855274935</c:v>
                </c:pt>
                <c:pt idx="135">
                  <c:v>24.691223540903007</c:v>
                </c:pt>
                <c:pt idx="136">
                  <c:v>27.95917959778723</c:v>
                </c:pt>
                <c:pt idx="137">
                  <c:v>26.143648455073773</c:v>
                </c:pt>
                <c:pt idx="138">
                  <c:v>27.051414026430503</c:v>
                </c:pt>
                <c:pt idx="139">
                  <c:v>29.956263854772029</c:v>
                </c:pt>
                <c:pt idx="140">
                  <c:v>33.405773025927601</c:v>
                </c:pt>
                <c:pt idx="141">
                  <c:v>39.21547268261066</c:v>
                </c:pt>
                <c:pt idx="142">
                  <c:v>53.19506248150428</c:v>
                </c:pt>
                <c:pt idx="143">
                  <c:v>60.820293280900792</c:v>
                </c:pt>
                <c:pt idx="144">
                  <c:v>67.900864737483275</c:v>
                </c:pt>
                <c:pt idx="145">
                  <c:v>77.886286022407276</c:v>
                </c:pt>
                <c:pt idx="146">
                  <c:v>89.324132221502069</c:v>
                </c:pt>
                <c:pt idx="147">
                  <c:v>98.583341049340689</c:v>
                </c:pt>
                <c:pt idx="148">
                  <c:v>102.75906267758165</c:v>
                </c:pt>
                <c:pt idx="149">
                  <c:v>100.03576596351147</c:v>
                </c:pt>
                <c:pt idx="150">
                  <c:v>120.18816164763084</c:v>
                </c:pt>
                <c:pt idx="151">
                  <c:v>125.6347550757712</c:v>
                </c:pt>
                <c:pt idx="152">
                  <c:v>134.71241078933846</c:v>
                </c:pt>
                <c:pt idx="153">
                  <c:v>151.95995664511631</c:v>
                </c:pt>
                <c:pt idx="154">
                  <c:v>173.74633035767781</c:v>
                </c:pt>
                <c:pt idx="155">
                  <c:v>207.51520961214808</c:v>
                </c:pt>
                <c:pt idx="156">
                  <c:v>238.56079215254817</c:v>
                </c:pt>
                <c:pt idx="157">
                  <c:v>251.81416949435643</c:v>
                </c:pt>
                <c:pt idx="158">
                  <c:v>275.23452123536003</c:v>
                </c:pt>
                <c:pt idx="159">
                  <c:v>276.68694614953074</c:v>
                </c:pt>
                <c:pt idx="160">
                  <c:v>298.47331986209224</c:v>
                </c:pt>
                <c:pt idx="161">
                  <c:v>333.3315178021906</c:v>
                </c:pt>
                <c:pt idx="162">
                  <c:v>354.75478528620943</c:v>
                </c:pt>
                <c:pt idx="163">
                  <c:v>378.90134948429841</c:v>
                </c:pt>
                <c:pt idx="164">
                  <c:v>393.24404551173473</c:v>
                </c:pt>
                <c:pt idx="165">
                  <c:v>426.46826542339096</c:v>
                </c:pt>
                <c:pt idx="166">
                  <c:v>442.62649259354072</c:v>
                </c:pt>
                <c:pt idx="167">
                  <c:v>456.06142304962032</c:v>
                </c:pt>
                <c:pt idx="168">
                  <c:v>517.4263756733352</c:v>
                </c:pt>
                <c:pt idx="169">
                  <c:v>523.59918155856087</c:v>
                </c:pt>
                <c:pt idx="170">
                  <c:v>529.59043432951523</c:v>
                </c:pt>
                <c:pt idx="171">
                  <c:v>627.08445669322793</c:v>
                </c:pt>
                <c:pt idx="172">
                  <c:v>658.6746985764421</c:v>
                </c:pt>
                <c:pt idx="173">
                  <c:v>692.08047160236958</c:v>
                </c:pt>
                <c:pt idx="174">
                  <c:v>719.85809808588556</c:v>
                </c:pt>
                <c:pt idx="175">
                  <c:v>771.7822887674904</c:v>
                </c:pt>
                <c:pt idx="176">
                  <c:v>811.5424207929151</c:v>
                </c:pt>
                <c:pt idx="177">
                  <c:v>937.17717586868628</c:v>
                </c:pt>
                <c:pt idx="178">
                  <c:v>913.0306116705973</c:v>
                </c:pt>
                <c:pt idx="179">
                  <c:v>933.00145424044524</c:v>
                </c:pt>
                <c:pt idx="180">
                  <c:v>941.71600372546982</c:v>
                </c:pt>
                <c:pt idx="181">
                  <c:v>974.39556429431207</c:v>
                </c:pt>
                <c:pt idx="182">
                  <c:v>999.44989406375771</c:v>
                </c:pt>
                <c:pt idx="183">
                  <c:v>1047.7430224599357</c:v>
                </c:pt>
                <c:pt idx="184">
                  <c:v>992.732428835718</c:v>
                </c:pt>
                <c:pt idx="185">
                  <c:v>995.63727866405964</c:v>
                </c:pt>
                <c:pt idx="186">
                  <c:v>989.64602589310516</c:v>
                </c:pt>
                <c:pt idx="187">
                  <c:v>980.93147640808047</c:v>
                </c:pt>
                <c:pt idx="188">
                  <c:v>980.20526395099523</c:v>
                </c:pt>
                <c:pt idx="189">
                  <c:v>943.168428639640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B7-42F9-96E3-A51B38B8C2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C$122:$C$344</c:f>
              <c:numCache>
                <c:formatCode>General</c:formatCode>
                <c:ptCount val="22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CB7-42F9-96E3-A51B38B8C2B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D$122:$D$344</c:f>
              <c:numCache>
                <c:formatCode>General</c:formatCode>
                <c:ptCount val="223"/>
                <c:pt idx="185" formatCode="0">
                  <c:v>1020.3285022049625</c:v>
                </c:pt>
                <c:pt idx="186" formatCode="0">
                  <c:v>1007.438231091697</c:v>
                </c:pt>
                <c:pt idx="187" formatCode="0">
                  <c:v>992.732428835718</c:v>
                </c:pt>
                <c:pt idx="188">
                  <c:v>978.5712859225531</c:v>
                </c:pt>
                <c:pt idx="189">
                  <c:v>965.49946169501607</c:v>
                </c:pt>
                <c:pt idx="190">
                  <c:v>949.88589386768058</c:v>
                </c:pt>
                <c:pt idx="191">
                  <c:v>930.64126375491787</c:v>
                </c:pt>
                <c:pt idx="192">
                  <c:v>912.84905855632587</c:v>
                </c:pt>
                <c:pt idx="193">
                  <c:v>896.69083138617623</c:v>
                </c:pt>
                <c:pt idx="194">
                  <c:v>881.44036978738313</c:v>
                </c:pt>
                <c:pt idx="195">
                  <c:v>866.18990818859015</c:v>
                </c:pt>
                <c:pt idx="196">
                  <c:v>850.57634036125444</c:v>
                </c:pt>
                <c:pt idx="197">
                  <c:v>834.7812194196473</c:v>
                </c:pt>
                <c:pt idx="198">
                  <c:v>819.16765159231147</c:v>
                </c:pt>
                <c:pt idx="199">
                  <c:v>804.64340245060396</c:v>
                </c:pt>
                <c:pt idx="200">
                  <c:v>790.48225953743895</c:v>
                </c:pt>
                <c:pt idx="201">
                  <c:v>776.68422285281667</c:v>
                </c:pt>
                <c:pt idx="202">
                  <c:v>762.52307993965167</c:v>
                </c:pt>
                <c:pt idx="203">
                  <c:v>748.7250432550295</c:v>
                </c:pt>
                <c:pt idx="204">
                  <c:v>735.10855968467854</c:v>
                </c:pt>
                <c:pt idx="205">
                  <c:v>722.03673545714162</c:v>
                </c:pt>
                <c:pt idx="206">
                  <c:v>709.14646434387612</c:v>
                </c:pt>
                <c:pt idx="207">
                  <c:v>696.61929945915324</c:v>
                </c:pt>
                <c:pt idx="208">
                  <c:v>684.09213457443047</c:v>
                </c:pt>
                <c:pt idx="209">
                  <c:v>671.92807591825022</c:v>
                </c:pt>
                <c:pt idx="210">
                  <c:v>659.94557037634149</c:v>
                </c:pt>
                <c:pt idx="211">
                  <c:v>648.32617106297539</c:v>
                </c:pt>
                <c:pt idx="212">
                  <c:v>636.88832486388048</c:v>
                </c:pt>
                <c:pt idx="213">
                  <c:v>625.63203177905712</c:v>
                </c:pt>
                <c:pt idx="214">
                  <c:v>614.55729180850506</c:v>
                </c:pt>
                <c:pt idx="215">
                  <c:v>603.66410495222431</c:v>
                </c:pt>
                <c:pt idx="216">
                  <c:v>592.95247121021487</c:v>
                </c:pt>
                <c:pt idx="217">
                  <c:v>582.42239058247685</c:v>
                </c:pt>
                <c:pt idx="218">
                  <c:v>572.25541618328145</c:v>
                </c:pt>
                <c:pt idx="219">
                  <c:v>562.08844178408617</c:v>
                </c:pt>
                <c:pt idx="220">
                  <c:v>552.28457361343351</c:v>
                </c:pt>
                <c:pt idx="221">
                  <c:v>542.66225855705216</c:v>
                </c:pt>
                <c:pt idx="222">
                  <c:v>533.03994350067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B7-42F9-96E3-A51B38B8C2B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E$122:$E$344</c:f>
              <c:numCache>
                <c:formatCode>General</c:formatCode>
                <c:ptCount val="223"/>
                <c:pt idx="185" formatCode="0">
                  <c:v>1023.4149051475754</c:v>
                </c:pt>
                <c:pt idx="186" formatCode="0">
                  <c:v>1015.4265681196363</c:v>
                </c:pt>
                <c:pt idx="187" formatCode="0">
                  <c:v>1006.5304655203403</c:v>
                </c:pt>
                <c:pt idx="188">
                  <c:v>998.72368160667247</c:v>
                </c:pt>
                <c:pt idx="189">
                  <c:v>993.09553506426073</c:v>
                </c:pt>
                <c:pt idx="190">
                  <c:v>986.3780698362209</c:v>
                </c:pt>
                <c:pt idx="191">
                  <c:v>977.30041412265359</c:v>
                </c:pt>
                <c:pt idx="192">
                  <c:v>968.04120529481509</c:v>
                </c:pt>
                <c:pt idx="193">
                  <c:v>959.50820892406182</c:v>
                </c:pt>
                <c:pt idx="194">
                  <c:v>951.88297812466521</c:v>
                </c:pt>
                <c:pt idx="195">
                  <c:v>944.43930043954015</c:v>
                </c:pt>
                <c:pt idx="196">
                  <c:v>936.81406964014354</c:v>
                </c:pt>
                <c:pt idx="197">
                  <c:v>928.64417949793301</c:v>
                </c:pt>
                <c:pt idx="198">
                  <c:v>920.29273624145117</c:v>
                </c:pt>
                <c:pt idx="199">
                  <c:v>912.30439921351194</c:v>
                </c:pt>
                <c:pt idx="200">
                  <c:v>904.67916841411534</c:v>
                </c:pt>
                <c:pt idx="201">
                  <c:v>897.23549072899027</c:v>
                </c:pt>
                <c:pt idx="202">
                  <c:v>889.79181304386509</c:v>
                </c:pt>
                <c:pt idx="203">
                  <c:v>882.16658224446849</c:v>
                </c:pt>
                <c:pt idx="204">
                  <c:v>874.541351445072</c:v>
                </c:pt>
                <c:pt idx="205">
                  <c:v>867.09767375994682</c:v>
                </c:pt>
                <c:pt idx="206">
                  <c:v>859.83554918909306</c:v>
                </c:pt>
                <c:pt idx="207">
                  <c:v>852.75497773251061</c:v>
                </c:pt>
                <c:pt idx="208">
                  <c:v>845.67440627592805</c:v>
                </c:pt>
                <c:pt idx="209">
                  <c:v>838.41228170507418</c:v>
                </c:pt>
                <c:pt idx="210">
                  <c:v>831.33171024849173</c:v>
                </c:pt>
                <c:pt idx="211">
                  <c:v>824.25113879190917</c:v>
                </c:pt>
                <c:pt idx="212">
                  <c:v>817.35212044959803</c:v>
                </c:pt>
                <c:pt idx="213">
                  <c:v>810.63465522155832</c:v>
                </c:pt>
                <c:pt idx="214">
                  <c:v>803.91718999351849</c:v>
                </c:pt>
                <c:pt idx="215">
                  <c:v>797.19972476547866</c:v>
                </c:pt>
                <c:pt idx="216">
                  <c:v>790.66381265171026</c:v>
                </c:pt>
                <c:pt idx="217">
                  <c:v>784.12790053794185</c:v>
                </c:pt>
                <c:pt idx="218">
                  <c:v>777.77354153844487</c:v>
                </c:pt>
                <c:pt idx="219">
                  <c:v>771.41918253894767</c:v>
                </c:pt>
                <c:pt idx="220">
                  <c:v>765.06482353945057</c:v>
                </c:pt>
                <c:pt idx="221">
                  <c:v>758.71046453995348</c:v>
                </c:pt>
                <c:pt idx="222">
                  <c:v>752.356105540456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B7-42F9-96E3-A51B38B8C2B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F$122:$F$344</c:f>
              <c:numCache>
                <c:formatCode>General</c:formatCode>
                <c:ptCount val="223"/>
                <c:pt idx="185" formatCode="0">
                  <c:v>1029.7692641470726</c:v>
                </c:pt>
                <c:pt idx="186" formatCode="0">
                  <c:v>1031.5847952897861</c:v>
                </c:pt>
                <c:pt idx="187" formatCode="0">
                  <c:v>1034.4896451181276</c:v>
                </c:pt>
                <c:pt idx="188">
                  <c:v>1039.5731323177251</c:v>
                </c:pt>
                <c:pt idx="189">
                  <c:v>1049.0138942598351</c:v>
                </c:pt>
                <c:pt idx="190">
                  <c:v>1060.2701873446588</c:v>
                </c:pt>
                <c:pt idx="191">
                  <c:v>1072.4342460008388</c:v>
                </c:pt>
                <c:pt idx="192">
                  <c:v>1081.3303486001346</c:v>
                </c:pt>
                <c:pt idx="193">
                  <c:v>1089.863344970888</c:v>
                </c:pt>
                <c:pt idx="194">
                  <c:v>1099.3041069129979</c:v>
                </c:pt>
                <c:pt idx="195">
                  <c:v>1110.3788468835501</c:v>
                </c:pt>
                <c:pt idx="196">
                  <c:v>1121.9982461969162</c:v>
                </c:pt>
                <c:pt idx="197">
                  <c:v>1133.2545392817397</c:v>
                </c:pt>
                <c:pt idx="198">
                  <c:v>1143.7846199094777</c:v>
                </c:pt>
                <c:pt idx="199">
                  <c:v>1153.9515943086731</c:v>
                </c:pt>
                <c:pt idx="200">
                  <c:v>1164.6632280506824</c:v>
                </c:pt>
                <c:pt idx="201">
                  <c:v>1176.1010742497772</c:v>
                </c:pt>
                <c:pt idx="202">
                  <c:v>1187.9020266774146</c:v>
                </c:pt>
                <c:pt idx="203">
                  <c:v>1199.3398728765094</c:v>
                </c:pt>
                <c:pt idx="204">
                  <c:v>1210.4146128470613</c:v>
                </c:pt>
                <c:pt idx="205">
                  <c:v>1221.670905931885</c:v>
                </c:pt>
                <c:pt idx="206">
                  <c:v>1233.2903052452509</c:v>
                </c:pt>
                <c:pt idx="207">
                  <c:v>1245.2728107871599</c:v>
                </c:pt>
                <c:pt idx="208">
                  <c:v>1257.4368694433401</c:v>
                </c:pt>
                <c:pt idx="209">
                  <c:v>1269.2378218709775</c:v>
                </c:pt>
                <c:pt idx="210">
                  <c:v>1281.2203274128863</c:v>
                </c:pt>
                <c:pt idx="211">
                  <c:v>1293.2028329547952</c:v>
                </c:pt>
                <c:pt idx="212">
                  <c:v>1305.3668916109752</c:v>
                </c:pt>
                <c:pt idx="213">
                  <c:v>1317.7125033814266</c:v>
                </c:pt>
                <c:pt idx="214">
                  <c:v>1330.2396682661497</c:v>
                </c:pt>
                <c:pt idx="215">
                  <c:v>1342.7668331508726</c:v>
                </c:pt>
                <c:pt idx="216">
                  <c:v>1355.4755511498665</c:v>
                </c:pt>
                <c:pt idx="217">
                  <c:v>1368.1842691488609</c:v>
                </c:pt>
                <c:pt idx="218">
                  <c:v>1381.2560933763978</c:v>
                </c:pt>
                <c:pt idx="219">
                  <c:v>1394.3279176039346</c:v>
                </c:pt>
                <c:pt idx="220">
                  <c:v>1407.5812949457427</c:v>
                </c:pt>
                <c:pt idx="221">
                  <c:v>1420.834672287551</c:v>
                </c:pt>
                <c:pt idx="222">
                  <c:v>1434.08804962935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CB7-42F9-96E3-A51B38B8C2B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G$122:$G$344</c:f>
              <c:numCache>
                <c:formatCode>General</c:formatCode>
                <c:ptCount val="223"/>
                <c:pt idx="185" formatCode="0">
                  <c:v>1033.0372202039568</c:v>
                </c:pt>
                <c:pt idx="186" formatCode="0">
                  <c:v>1039.7546854319967</c:v>
                </c:pt>
                <c:pt idx="187" formatCode="0">
                  <c:v>1048.6507880312927</c:v>
                </c:pt>
                <c:pt idx="188">
                  <c:v>1060.0886342303872</c:v>
                </c:pt>
                <c:pt idx="189">
                  <c:v>1077.1546269718938</c:v>
                </c:pt>
                <c:pt idx="190">
                  <c:v>1097.8516819988272</c:v>
                </c:pt>
                <c:pt idx="191">
                  <c:v>1121.0904806255594</c:v>
                </c:pt>
                <c:pt idx="192">
                  <c:v>1139.9720045097795</c:v>
                </c:pt>
                <c:pt idx="193">
                  <c:v>1157.9457628226426</c:v>
                </c:pt>
                <c:pt idx="194">
                  <c:v>1177.1903929354053</c:v>
                </c:pt>
                <c:pt idx="195">
                  <c:v>1199.1583197622381</c:v>
                </c:pt>
                <c:pt idx="196">
                  <c:v>1222.3971183889703</c:v>
                </c:pt>
                <c:pt idx="197">
                  <c:v>1245.2728107871599</c:v>
                </c:pt>
                <c:pt idx="198">
                  <c:v>1267.6038438425353</c:v>
                </c:pt>
                <c:pt idx="199">
                  <c:v>1289.2086644408255</c:v>
                </c:pt>
                <c:pt idx="200">
                  <c:v>1312.0843568390151</c:v>
                </c:pt>
                <c:pt idx="201">
                  <c:v>1336.0493679228327</c:v>
                </c:pt>
                <c:pt idx="202">
                  <c:v>1360.922144578007</c:v>
                </c:pt>
                <c:pt idx="203">
                  <c:v>1385.6133681189099</c:v>
                </c:pt>
                <c:pt idx="204">
                  <c:v>1410.304591659813</c:v>
                </c:pt>
                <c:pt idx="205">
                  <c:v>1435.3589214292588</c:v>
                </c:pt>
                <c:pt idx="206">
                  <c:v>1461.1394636557898</c:v>
                </c:pt>
                <c:pt idx="207">
                  <c:v>1487.6462183394062</c:v>
                </c:pt>
                <c:pt idx="208">
                  <c:v>1514.6976323658369</c:v>
                </c:pt>
                <c:pt idx="209">
                  <c:v>1541.9305995065388</c:v>
                </c:pt>
                <c:pt idx="210">
                  <c:v>1569.5266728757831</c:v>
                </c:pt>
                <c:pt idx="211">
                  <c:v>1597.4858524735705</c:v>
                </c:pt>
                <c:pt idx="212">
                  <c:v>1626.1712445284429</c:v>
                </c:pt>
                <c:pt idx="213">
                  <c:v>1655.4012959261295</c:v>
                </c:pt>
                <c:pt idx="214">
                  <c:v>1685.1760066666304</c:v>
                </c:pt>
                <c:pt idx="215">
                  <c:v>1715.4953767499451</c:v>
                </c:pt>
                <c:pt idx="216">
                  <c:v>1746.1778530618026</c:v>
                </c:pt>
                <c:pt idx="217">
                  <c:v>1777.404988716474</c:v>
                </c:pt>
                <c:pt idx="218">
                  <c:v>1809.1767837139596</c:v>
                </c:pt>
                <c:pt idx="219">
                  <c:v>1841.4932380542589</c:v>
                </c:pt>
                <c:pt idx="220">
                  <c:v>1874.5359048516436</c:v>
                </c:pt>
                <c:pt idx="221">
                  <c:v>1908.1232309918428</c:v>
                </c:pt>
                <c:pt idx="222">
                  <c:v>1942.25521647485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ACB7-42F9-96E3-A51B38B8C2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B$397:$B$497</c:f>
              <c:numCache>
                <c:formatCode>0</c:formatCode>
                <c:ptCount val="101"/>
                <c:pt idx="0">
                  <c:v>18</c:v>
                </c:pt>
                <c:pt idx="1">
                  <c:v>11</c:v>
                </c:pt>
                <c:pt idx="2">
                  <c:v>21</c:v>
                </c:pt>
                <c:pt idx="3">
                  <c:v>24</c:v>
                </c:pt>
                <c:pt idx="4">
                  <c:v>38</c:v>
                </c:pt>
                <c:pt idx="5">
                  <c:v>26</c:v>
                </c:pt>
                <c:pt idx="6">
                  <c:v>31</c:v>
                </c:pt>
                <c:pt idx="7">
                  <c:v>24</c:v>
                </c:pt>
                <c:pt idx="8">
                  <c:v>34</c:v>
                </c:pt>
                <c:pt idx="9">
                  <c:v>24</c:v>
                </c:pt>
                <c:pt idx="10">
                  <c:v>36</c:v>
                </c:pt>
                <c:pt idx="11">
                  <c:v>45</c:v>
                </c:pt>
                <c:pt idx="12">
                  <c:v>55</c:v>
                </c:pt>
                <c:pt idx="13">
                  <c:v>60</c:v>
                </c:pt>
                <c:pt idx="14">
                  <c:v>57</c:v>
                </c:pt>
                <c:pt idx="15">
                  <c:v>43</c:v>
                </c:pt>
                <c:pt idx="16">
                  <c:v>30</c:v>
                </c:pt>
                <c:pt idx="17">
                  <c:v>100</c:v>
                </c:pt>
                <c:pt idx="18">
                  <c:v>145</c:v>
                </c:pt>
                <c:pt idx="19">
                  <c:v>111</c:v>
                </c:pt>
                <c:pt idx="20">
                  <c:v>113</c:v>
                </c:pt>
                <c:pt idx="21">
                  <c:v>134</c:v>
                </c:pt>
                <c:pt idx="22">
                  <c:v>67</c:v>
                </c:pt>
                <c:pt idx="23">
                  <c:v>95</c:v>
                </c:pt>
                <c:pt idx="24">
                  <c:v>188</c:v>
                </c:pt>
                <c:pt idx="25">
                  <c:v>201</c:v>
                </c:pt>
                <c:pt idx="26">
                  <c:v>213</c:v>
                </c:pt>
                <c:pt idx="27">
                  <c:v>129</c:v>
                </c:pt>
                <c:pt idx="28">
                  <c:v>251</c:v>
                </c:pt>
                <c:pt idx="29">
                  <c:v>192</c:v>
                </c:pt>
                <c:pt idx="30">
                  <c:v>102</c:v>
                </c:pt>
                <c:pt idx="31">
                  <c:v>343</c:v>
                </c:pt>
                <c:pt idx="32">
                  <c:v>384</c:v>
                </c:pt>
                <c:pt idx="33">
                  <c:v>404</c:v>
                </c:pt>
                <c:pt idx="34">
                  <c:v>309</c:v>
                </c:pt>
                <c:pt idx="35">
                  <c:v>422</c:v>
                </c:pt>
                <c:pt idx="36">
                  <c:v>292</c:v>
                </c:pt>
                <c:pt idx="37">
                  <c:v>191</c:v>
                </c:pt>
                <c:pt idx="38">
                  <c:v>518</c:v>
                </c:pt>
                <c:pt idx="39">
                  <c:v>451</c:v>
                </c:pt>
                <c:pt idx="40">
                  <c:v>572</c:v>
                </c:pt>
                <c:pt idx="41">
                  <c:v>623</c:v>
                </c:pt>
                <c:pt idx="42">
                  <c:v>590</c:v>
                </c:pt>
                <c:pt idx="43">
                  <c:v>447</c:v>
                </c:pt>
                <c:pt idx="44">
                  <c:v>289</c:v>
                </c:pt>
                <c:pt idx="45">
                  <c:v>784</c:v>
                </c:pt>
                <c:pt idx="46">
                  <c:v>1096</c:v>
                </c:pt>
                <c:pt idx="47">
                  <c:v>464</c:v>
                </c:pt>
                <c:pt idx="48">
                  <c:v>925</c:v>
                </c:pt>
                <c:pt idx="49">
                  <c:v>1078</c:v>
                </c:pt>
                <c:pt idx="50">
                  <c:v>630</c:v>
                </c:pt>
                <c:pt idx="51">
                  <c:v>460</c:v>
                </c:pt>
                <c:pt idx="52">
                  <c:v>930</c:v>
                </c:pt>
                <c:pt idx="53">
                  <c:v>1324</c:v>
                </c:pt>
                <c:pt idx="54">
                  <c:v>1048</c:v>
                </c:pt>
                <c:pt idx="55">
                  <c:v>1383</c:v>
                </c:pt>
                <c:pt idx="56">
                  <c:v>1218</c:v>
                </c:pt>
                <c:pt idx="57">
                  <c:v>696</c:v>
                </c:pt>
                <c:pt idx="58">
                  <c:v>329</c:v>
                </c:pt>
                <c:pt idx="59">
                  <c:v>1062</c:v>
                </c:pt>
                <c:pt idx="60">
                  <c:v>1179</c:v>
                </c:pt>
                <c:pt idx="61">
                  <c:v>1077</c:v>
                </c:pt>
                <c:pt idx="62">
                  <c:v>1130</c:v>
                </c:pt>
                <c:pt idx="63">
                  <c:v>1082</c:v>
                </c:pt>
                <c:pt idx="64">
                  <c:v>524</c:v>
                </c:pt>
                <c:pt idx="65">
                  <c:v>351</c:v>
                </c:pt>
                <c:pt idx="66">
                  <c:v>885</c:v>
                </c:pt>
                <c:pt idx="67">
                  <c:v>10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1-4E02-9EA0-D010686661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C$397:$C$497</c:f>
              <c:numCache>
                <c:formatCode>General</c:formatCode>
                <c:ptCount val="10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0C1-4E02-9EA0-D010686661C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D$397:$D$497</c:f>
              <c:numCache>
                <c:formatCode>General</c:formatCode>
                <c:ptCount val="101"/>
                <c:pt idx="63">
                  <c:v>1092</c:v>
                </c:pt>
                <c:pt idx="64">
                  <c:v>1061</c:v>
                </c:pt>
                <c:pt idx="65">
                  <c:v>1039</c:v>
                </c:pt>
                <c:pt idx="66">
                  <c:v>1025</c:v>
                </c:pt>
                <c:pt idx="67">
                  <c:v>1011</c:v>
                </c:pt>
                <c:pt idx="68">
                  <c:v>997</c:v>
                </c:pt>
                <c:pt idx="69">
                  <c:v>978</c:v>
                </c:pt>
                <c:pt idx="70">
                  <c:v>954</c:v>
                </c:pt>
                <c:pt idx="71">
                  <c:v>936</c:v>
                </c:pt>
                <c:pt idx="72">
                  <c:v>921</c:v>
                </c:pt>
                <c:pt idx="73">
                  <c:v>907</c:v>
                </c:pt>
                <c:pt idx="74">
                  <c:v>891</c:v>
                </c:pt>
                <c:pt idx="75">
                  <c:v>874</c:v>
                </c:pt>
                <c:pt idx="76">
                  <c:v>857</c:v>
                </c:pt>
                <c:pt idx="77">
                  <c:v>841</c:v>
                </c:pt>
                <c:pt idx="78">
                  <c:v>827</c:v>
                </c:pt>
                <c:pt idx="79">
                  <c:v>813</c:v>
                </c:pt>
                <c:pt idx="80">
                  <c:v>799</c:v>
                </c:pt>
                <c:pt idx="81">
                  <c:v>784</c:v>
                </c:pt>
                <c:pt idx="82">
                  <c:v>769</c:v>
                </c:pt>
                <c:pt idx="83">
                  <c:v>756</c:v>
                </c:pt>
                <c:pt idx="84">
                  <c:v>742</c:v>
                </c:pt>
                <c:pt idx="85">
                  <c:v>729</c:v>
                </c:pt>
                <c:pt idx="86">
                  <c:v>717</c:v>
                </c:pt>
                <c:pt idx="87">
                  <c:v>704</c:v>
                </c:pt>
                <c:pt idx="88">
                  <c:v>691</c:v>
                </c:pt>
                <c:pt idx="89">
                  <c:v>679</c:v>
                </c:pt>
                <c:pt idx="90">
                  <c:v>667</c:v>
                </c:pt>
                <c:pt idx="91">
                  <c:v>655</c:v>
                </c:pt>
                <c:pt idx="92">
                  <c:v>644</c:v>
                </c:pt>
                <c:pt idx="93">
                  <c:v>632</c:v>
                </c:pt>
                <c:pt idx="94">
                  <c:v>621</c:v>
                </c:pt>
                <c:pt idx="95">
                  <c:v>610</c:v>
                </c:pt>
                <c:pt idx="96">
                  <c:v>599</c:v>
                </c:pt>
                <c:pt idx="97">
                  <c:v>589</c:v>
                </c:pt>
                <c:pt idx="98">
                  <c:v>579</c:v>
                </c:pt>
                <c:pt idx="99">
                  <c:v>569</c:v>
                </c:pt>
                <c:pt idx="100">
                  <c:v>5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C1-4E02-9EA0-D010686661C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E$397:$E$497</c:f>
              <c:numCache>
                <c:formatCode>General</c:formatCode>
                <c:ptCount val="101"/>
                <c:pt idx="63">
                  <c:v>1116</c:v>
                </c:pt>
                <c:pt idx="64">
                  <c:v>1099</c:v>
                </c:pt>
                <c:pt idx="65">
                  <c:v>1084</c:v>
                </c:pt>
                <c:pt idx="66">
                  <c:v>1075</c:v>
                </c:pt>
                <c:pt idx="67">
                  <c:v>1069</c:v>
                </c:pt>
                <c:pt idx="68">
                  <c:v>1065</c:v>
                </c:pt>
                <c:pt idx="69">
                  <c:v>1056</c:v>
                </c:pt>
                <c:pt idx="70">
                  <c:v>1044</c:v>
                </c:pt>
                <c:pt idx="71">
                  <c:v>1032</c:v>
                </c:pt>
                <c:pt idx="72">
                  <c:v>1024</c:v>
                </c:pt>
                <c:pt idx="73">
                  <c:v>1018</c:v>
                </c:pt>
                <c:pt idx="74">
                  <c:v>1010</c:v>
                </c:pt>
                <c:pt idx="75">
                  <c:v>1001</c:v>
                </c:pt>
                <c:pt idx="76">
                  <c:v>992</c:v>
                </c:pt>
                <c:pt idx="77">
                  <c:v>983</c:v>
                </c:pt>
                <c:pt idx="78">
                  <c:v>974</c:v>
                </c:pt>
                <c:pt idx="79">
                  <c:v>967</c:v>
                </c:pt>
                <c:pt idx="80">
                  <c:v>959</c:v>
                </c:pt>
                <c:pt idx="81">
                  <c:v>951</c:v>
                </c:pt>
                <c:pt idx="82">
                  <c:v>943</c:v>
                </c:pt>
                <c:pt idx="83">
                  <c:v>934</c:v>
                </c:pt>
                <c:pt idx="84">
                  <c:v>927</c:v>
                </c:pt>
                <c:pt idx="85">
                  <c:v>919</c:v>
                </c:pt>
                <c:pt idx="86">
                  <c:v>912</c:v>
                </c:pt>
                <c:pt idx="87">
                  <c:v>904</c:v>
                </c:pt>
                <c:pt idx="88">
                  <c:v>896</c:v>
                </c:pt>
                <c:pt idx="89">
                  <c:v>889</c:v>
                </c:pt>
                <c:pt idx="90">
                  <c:v>881</c:v>
                </c:pt>
                <c:pt idx="91">
                  <c:v>874</c:v>
                </c:pt>
                <c:pt idx="92">
                  <c:v>867</c:v>
                </c:pt>
                <c:pt idx="93">
                  <c:v>860</c:v>
                </c:pt>
                <c:pt idx="94">
                  <c:v>852</c:v>
                </c:pt>
                <c:pt idx="95">
                  <c:v>845</c:v>
                </c:pt>
                <c:pt idx="96">
                  <c:v>838</c:v>
                </c:pt>
                <c:pt idx="97">
                  <c:v>831</c:v>
                </c:pt>
                <c:pt idx="98">
                  <c:v>825</c:v>
                </c:pt>
                <c:pt idx="99">
                  <c:v>818</c:v>
                </c:pt>
                <c:pt idx="100">
                  <c:v>8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0C1-4E02-9EA0-D010686661C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F$397:$F$497</c:f>
              <c:numCache>
                <c:formatCode>General</c:formatCode>
                <c:ptCount val="101"/>
                <c:pt idx="63">
                  <c:v>1165</c:v>
                </c:pt>
                <c:pt idx="64">
                  <c:v>1175</c:v>
                </c:pt>
                <c:pt idx="65">
                  <c:v>1175</c:v>
                </c:pt>
                <c:pt idx="66">
                  <c:v>1175</c:v>
                </c:pt>
                <c:pt idx="67">
                  <c:v>1186</c:v>
                </c:pt>
                <c:pt idx="68">
                  <c:v>1205</c:v>
                </c:pt>
                <c:pt idx="69">
                  <c:v>1221</c:v>
                </c:pt>
                <c:pt idx="70">
                  <c:v>1235</c:v>
                </c:pt>
                <c:pt idx="71">
                  <c:v>1240</c:v>
                </c:pt>
                <c:pt idx="72">
                  <c:v>1249</c:v>
                </c:pt>
                <c:pt idx="73">
                  <c:v>1261</c:v>
                </c:pt>
                <c:pt idx="74">
                  <c:v>1277</c:v>
                </c:pt>
                <c:pt idx="75">
                  <c:v>1291</c:v>
                </c:pt>
                <c:pt idx="76">
                  <c:v>1302</c:v>
                </c:pt>
                <c:pt idx="77">
                  <c:v>1313</c:v>
                </c:pt>
                <c:pt idx="78">
                  <c:v>1324</c:v>
                </c:pt>
                <c:pt idx="79">
                  <c:v>1337</c:v>
                </c:pt>
                <c:pt idx="80">
                  <c:v>1351</c:v>
                </c:pt>
                <c:pt idx="81">
                  <c:v>1365</c:v>
                </c:pt>
                <c:pt idx="82">
                  <c:v>1377</c:v>
                </c:pt>
                <c:pt idx="83">
                  <c:v>1389</c:v>
                </c:pt>
                <c:pt idx="84">
                  <c:v>1402</c:v>
                </c:pt>
                <c:pt idx="85">
                  <c:v>1416</c:v>
                </c:pt>
                <c:pt idx="86">
                  <c:v>1430</c:v>
                </c:pt>
                <c:pt idx="87">
                  <c:v>1444</c:v>
                </c:pt>
                <c:pt idx="88">
                  <c:v>1457</c:v>
                </c:pt>
                <c:pt idx="89">
                  <c:v>1471</c:v>
                </c:pt>
                <c:pt idx="90">
                  <c:v>1484</c:v>
                </c:pt>
                <c:pt idx="91">
                  <c:v>1499</c:v>
                </c:pt>
                <c:pt idx="92">
                  <c:v>1513</c:v>
                </c:pt>
                <c:pt idx="93">
                  <c:v>1527</c:v>
                </c:pt>
                <c:pt idx="94">
                  <c:v>1542</c:v>
                </c:pt>
                <c:pt idx="95">
                  <c:v>1556</c:v>
                </c:pt>
                <c:pt idx="96">
                  <c:v>1571</c:v>
                </c:pt>
                <c:pt idx="97">
                  <c:v>1586</c:v>
                </c:pt>
                <c:pt idx="98">
                  <c:v>1601</c:v>
                </c:pt>
                <c:pt idx="99">
                  <c:v>1616</c:v>
                </c:pt>
                <c:pt idx="100">
                  <c:v>16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C1-4E02-9EA0-D010686661C9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G$397:$G$497</c:f>
              <c:numCache>
                <c:formatCode>General</c:formatCode>
                <c:ptCount val="101"/>
                <c:pt idx="63">
                  <c:v>1190</c:v>
                </c:pt>
                <c:pt idx="64">
                  <c:v>1213</c:v>
                </c:pt>
                <c:pt idx="65">
                  <c:v>1221</c:v>
                </c:pt>
                <c:pt idx="66">
                  <c:v>1225</c:v>
                </c:pt>
                <c:pt idx="67">
                  <c:v>1246</c:v>
                </c:pt>
                <c:pt idx="68">
                  <c:v>1277</c:v>
                </c:pt>
                <c:pt idx="69">
                  <c:v>1308</c:v>
                </c:pt>
                <c:pt idx="70">
                  <c:v>1336</c:v>
                </c:pt>
                <c:pt idx="71">
                  <c:v>1352</c:v>
                </c:pt>
                <c:pt idx="72">
                  <c:v>1370</c:v>
                </c:pt>
                <c:pt idx="73">
                  <c:v>1394</c:v>
                </c:pt>
                <c:pt idx="74">
                  <c:v>1425</c:v>
                </c:pt>
                <c:pt idx="75">
                  <c:v>1454</c:v>
                </c:pt>
                <c:pt idx="76">
                  <c:v>1480</c:v>
                </c:pt>
                <c:pt idx="77">
                  <c:v>1504</c:v>
                </c:pt>
                <c:pt idx="78">
                  <c:v>1528</c:v>
                </c:pt>
                <c:pt idx="79">
                  <c:v>1556</c:v>
                </c:pt>
                <c:pt idx="80">
                  <c:v>1587</c:v>
                </c:pt>
                <c:pt idx="81">
                  <c:v>1617</c:v>
                </c:pt>
                <c:pt idx="82">
                  <c:v>1645</c:v>
                </c:pt>
                <c:pt idx="83">
                  <c:v>1673</c:v>
                </c:pt>
                <c:pt idx="84">
                  <c:v>1703</c:v>
                </c:pt>
                <c:pt idx="85">
                  <c:v>1734</c:v>
                </c:pt>
                <c:pt idx="86">
                  <c:v>1766</c:v>
                </c:pt>
                <c:pt idx="87">
                  <c:v>1798</c:v>
                </c:pt>
                <c:pt idx="88">
                  <c:v>1830</c:v>
                </c:pt>
                <c:pt idx="89">
                  <c:v>1862</c:v>
                </c:pt>
                <c:pt idx="90">
                  <c:v>1895</c:v>
                </c:pt>
                <c:pt idx="91">
                  <c:v>1929</c:v>
                </c:pt>
                <c:pt idx="92">
                  <c:v>1964</c:v>
                </c:pt>
                <c:pt idx="93">
                  <c:v>2000</c:v>
                </c:pt>
                <c:pt idx="94">
                  <c:v>2035</c:v>
                </c:pt>
                <c:pt idx="95">
                  <c:v>2071</c:v>
                </c:pt>
                <c:pt idx="96">
                  <c:v>2108</c:v>
                </c:pt>
                <c:pt idx="97">
                  <c:v>2146</c:v>
                </c:pt>
                <c:pt idx="98">
                  <c:v>2185</c:v>
                </c:pt>
                <c:pt idx="99">
                  <c:v>2224</c:v>
                </c:pt>
                <c:pt idx="100">
                  <c:v>22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0C1-4E02-9EA0-D010686661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H$122:$H$344</c:f>
              <c:numCache>
                <c:formatCode>General</c:formatCode>
                <c:ptCount val="22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  <c:pt idx="188">
                  <c:v>100</c:v>
                </c:pt>
                <c:pt idx="189">
                  <c:v>100</c:v>
                </c:pt>
                <c:pt idx="190">
                  <c:v>100</c:v>
                </c:pt>
                <c:pt idx="191">
                  <c:v>100</c:v>
                </c:pt>
                <c:pt idx="192">
                  <c:v>100</c:v>
                </c:pt>
                <c:pt idx="193">
                  <c:v>100</c:v>
                </c:pt>
                <c:pt idx="194">
                  <c:v>100</c:v>
                </c:pt>
                <c:pt idx="195">
                  <c:v>100</c:v>
                </c:pt>
                <c:pt idx="196">
                  <c:v>100</c:v>
                </c:pt>
                <c:pt idx="197">
                  <c:v>100</c:v>
                </c:pt>
                <c:pt idx="198">
                  <c:v>100</c:v>
                </c:pt>
                <c:pt idx="199">
                  <c:v>100</c:v>
                </c:pt>
                <c:pt idx="200">
                  <c:v>100</c:v>
                </c:pt>
                <c:pt idx="201">
                  <c:v>100</c:v>
                </c:pt>
                <c:pt idx="202">
                  <c:v>100</c:v>
                </c:pt>
                <c:pt idx="203">
                  <c:v>100</c:v>
                </c:pt>
                <c:pt idx="204">
                  <c:v>100</c:v>
                </c:pt>
                <c:pt idx="205">
                  <c:v>100</c:v>
                </c:pt>
                <c:pt idx="206">
                  <c:v>100</c:v>
                </c:pt>
                <c:pt idx="207">
                  <c:v>100</c:v>
                </c:pt>
                <c:pt idx="208">
                  <c:v>100</c:v>
                </c:pt>
                <c:pt idx="209">
                  <c:v>100</c:v>
                </c:pt>
                <c:pt idx="210">
                  <c:v>100</c:v>
                </c:pt>
                <c:pt idx="211">
                  <c:v>100</c:v>
                </c:pt>
                <c:pt idx="212">
                  <c:v>100</c:v>
                </c:pt>
                <c:pt idx="213">
                  <c:v>100</c:v>
                </c:pt>
                <c:pt idx="214">
                  <c:v>100</c:v>
                </c:pt>
                <c:pt idx="215">
                  <c:v>100</c:v>
                </c:pt>
                <c:pt idx="216">
                  <c:v>100</c:v>
                </c:pt>
                <c:pt idx="217">
                  <c:v>100</c:v>
                </c:pt>
                <c:pt idx="218">
                  <c:v>100</c:v>
                </c:pt>
                <c:pt idx="219">
                  <c:v>100</c:v>
                </c:pt>
                <c:pt idx="220">
                  <c:v>100</c:v>
                </c:pt>
                <c:pt idx="221">
                  <c:v>100</c:v>
                </c:pt>
                <c:pt idx="22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C6-4CA2-937D-BBB2646D5F64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I$122:$I$344</c:f>
              <c:numCache>
                <c:formatCode>General</c:formatCode>
                <c:ptCount val="22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  <c:pt idx="188">
                  <c:v>50</c:v>
                </c:pt>
                <c:pt idx="189">
                  <c:v>50</c:v>
                </c:pt>
                <c:pt idx="190">
                  <c:v>50</c:v>
                </c:pt>
                <c:pt idx="191">
                  <c:v>50</c:v>
                </c:pt>
                <c:pt idx="192">
                  <c:v>50</c:v>
                </c:pt>
                <c:pt idx="193">
                  <c:v>50</c:v>
                </c:pt>
                <c:pt idx="194">
                  <c:v>50</c:v>
                </c:pt>
                <c:pt idx="195">
                  <c:v>50</c:v>
                </c:pt>
                <c:pt idx="196">
                  <c:v>50</c:v>
                </c:pt>
                <c:pt idx="197">
                  <c:v>50</c:v>
                </c:pt>
                <c:pt idx="198">
                  <c:v>50</c:v>
                </c:pt>
                <c:pt idx="199">
                  <c:v>50</c:v>
                </c:pt>
                <c:pt idx="200">
                  <c:v>50</c:v>
                </c:pt>
                <c:pt idx="201">
                  <c:v>50</c:v>
                </c:pt>
                <c:pt idx="202">
                  <c:v>50</c:v>
                </c:pt>
                <c:pt idx="203">
                  <c:v>50</c:v>
                </c:pt>
                <c:pt idx="204">
                  <c:v>50</c:v>
                </c:pt>
                <c:pt idx="205">
                  <c:v>50</c:v>
                </c:pt>
                <c:pt idx="206">
                  <c:v>50</c:v>
                </c:pt>
                <c:pt idx="207">
                  <c:v>50</c:v>
                </c:pt>
                <c:pt idx="208">
                  <c:v>50</c:v>
                </c:pt>
                <c:pt idx="209">
                  <c:v>50</c:v>
                </c:pt>
                <c:pt idx="210">
                  <c:v>50</c:v>
                </c:pt>
                <c:pt idx="211">
                  <c:v>50</c:v>
                </c:pt>
                <c:pt idx="212">
                  <c:v>50</c:v>
                </c:pt>
                <c:pt idx="213">
                  <c:v>50</c:v>
                </c:pt>
                <c:pt idx="214">
                  <c:v>50</c:v>
                </c:pt>
                <c:pt idx="215">
                  <c:v>50</c:v>
                </c:pt>
                <c:pt idx="216">
                  <c:v>50</c:v>
                </c:pt>
                <c:pt idx="217">
                  <c:v>50</c:v>
                </c:pt>
                <c:pt idx="218">
                  <c:v>50</c:v>
                </c:pt>
                <c:pt idx="219">
                  <c:v>50</c:v>
                </c:pt>
                <c:pt idx="220">
                  <c:v>50</c:v>
                </c:pt>
                <c:pt idx="221">
                  <c:v>50</c:v>
                </c:pt>
                <c:pt idx="22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B$122:$B$344</c:f>
              <c:numCache>
                <c:formatCode>0</c:formatCode>
                <c:ptCount val="223"/>
                <c:pt idx="0">
                  <c:v>26.509616113286604</c:v>
                </c:pt>
                <c:pt idx="1">
                  <c:v>24.780931241605948</c:v>
                </c:pt>
                <c:pt idx="2">
                  <c:v>24.033391837635936</c:v>
                </c:pt>
                <c:pt idx="3">
                  <c:v>22.790607578535788</c:v>
                </c:pt>
                <c:pt idx="4">
                  <c:v>22.145854842611651</c:v>
                </c:pt>
                <c:pt idx="5">
                  <c:v>22.015035446916901</c:v>
                </c:pt>
                <c:pt idx="6">
                  <c:v>19.977990571098612</c:v>
                </c:pt>
                <c:pt idx="7">
                  <c:v>19.080943286334598</c:v>
                </c:pt>
                <c:pt idx="8">
                  <c:v>18.127830546272829</c:v>
                </c:pt>
                <c:pt idx="9">
                  <c:v>15.90390081946204</c:v>
                </c:pt>
                <c:pt idx="10">
                  <c:v>14.558329892316014</c:v>
                </c:pt>
                <c:pt idx="11">
                  <c:v>13.848167458544502</c:v>
                </c:pt>
                <c:pt idx="12">
                  <c:v>13.315545633215867</c:v>
                </c:pt>
                <c:pt idx="13">
                  <c:v>12.175548042161596</c:v>
                </c:pt>
                <c:pt idx="14">
                  <c:v>10.530961353427566</c:v>
                </c:pt>
                <c:pt idx="15">
                  <c:v>9.3816195198236709</c:v>
                </c:pt>
                <c:pt idx="16">
                  <c:v>9.0919480007852904</c:v>
                </c:pt>
                <c:pt idx="17">
                  <c:v>8.7648995115484087</c:v>
                </c:pt>
                <c:pt idx="18">
                  <c:v>8.6340801158536564</c:v>
                </c:pt>
                <c:pt idx="19">
                  <c:v>8.7742437540980358</c:v>
                </c:pt>
                <c:pt idx="20">
                  <c:v>8.2416219287693995</c:v>
                </c:pt>
                <c:pt idx="21">
                  <c:v>7.3445746440053838</c:v>
                </c:pt>
                <c:pt idx="22">
                  <c:v>7.1296570653640039</c:v>
                </c:pt>
                <c:pt idx="23">
                  <c:v>6.5596582698368699</c:v>
                </c:pt>
                <c:pt idx="24">
                  <c:v>6.438183116691742</c:v>
                </c:pt>
                <c:pt idx="25">
                  <c:v>6.4849043294398685</c:v>
                </c:pt>
                <c:pt idx="26">
                  <c:v>6.4942485719894929</c:v>
                </c:pt>
                <c:pt idx="27">
                  <c:v>6.802608576127124</c:v>
                </c:pt>
                <c:pt idx="28">
                  <c:v>7.2137552483106306</c:v>
                </c:pt>
                <c:pt idx="29">
                  <c:v>7.503426767349012</c:v>
                </c:pt>
                <c:pt idx="30">
                  <c:v>8.1481795032731483</c:v>
                </c:pt>
                <c:pt idx="31">
                  <c:v>8.4658837499604047</c:v>
                </c:pt>
                <c:pt idx="32">
                  <c:v>9.0078498178386628</c:v>
                </c:pt>
                <c:pt idx="33">
                  <c:v>9.4844061878695474</c:v>
                </c:pt>
                <c:pt idx="34">
                  <c:v>9.2788328517777927</c:v>
                </c:pt>
                <c:pt idx="35">
                  <c:v>8.8396534519454093</c:v>
                </c:pt>
                <c:pt idx="36">
                  <c:v>10.17588013654181</c:v>
                </c:pt>
                <c:pt idx="37">
                  <c:v>10.951452268160699</c:v>
                </c:pt>
                <c:pt idx="38">
                  <c:v>12.063417131566094</c:v>
                </c:pt>
                <c:pt idx="39">
                  <c:v>12.353088650604473</c:v>
                </c:pt>
                <c:pt idx="40">
                  <c:v>12.717514110039856</c:v>
                </c:pt>
                <c:pt idx="41">
                  <c:v>13.782757760697127</c:v>
                </c:pt>
                <c:pt idx="42">
                  <c:v>15.76373718121766</c:v>
                </c:pt>
                <c:pt idx="43">
                  <c:v>15.586196572774783</c:v>
                </c:pt>
                <c:pt idx="44">
                  <c:v>15.371278994133405</c:v>
                </c:pt>
                <c:pt idx="45">
                  <c:v>14.978820807049148</c:v>
                </c:pt>
                <c:pt idx="46">
                  <c:v>15.352590509034155</c:v>
                </c:pt>
                <c:pt idx="47">
                  <c:v>15.053574747446149</c:v>
                </c:pt>
                <c:pt idx="48">
                  <c:v>14.81996868370552</c:v>
                </c:pt>
                <c:pt idx="49">
                  <c:v>14.614395347613764</c:v>
                </c:pt>
                <c:pt idx="50">
                  <c:v>14.343412313674635</c:v>
                </c:pt>
                <c:pt idx="51">
                  <c:v>14.091117764834754</c:v>
                </c:pt>
                <c:pt idx="52">
                  <c:v>13.586528667154996</c:v>
                </c:pt>
                <c:pt idx="53">
                  <c:v>12.923087446131611</c:v>
                </c:pt>
                <c:pt idx="54">
                  <c:v>12.596038956894731</c:v>
                </c:pt>
                <c:pt idx="55">
                  <c:v>12.399809863352599</c:v>
                </c:pt>
                <c:pt idx="56">
                  <c:v>11.988663191169092</c:v>
                </c:pt>
                <c:pt idx="57">
                  <c:v>11.614893489184086</c:v>
                </c:pt>
                <c:pt idx="58">
                  <c:v>11.670958944481836</c:v>
                </c:pt>
                <c:pt idx="59">
                  <c:v>11.194402574450953</c:v>
                </c:pt>
                <c:pt idx="60">
                  <c:v>11.100960148954702</c:v>
                </c:pt>
                <c:pt idx="61">
                  <c:v>11.0635831787562</c:v>
                </c:pt>
                <c:pt idx="62">
                  <c:v>10.633748021473442</c:v>
                </c:pt>
                <c:pt idx="63">
                  <c:v>10.465551655580189</c:v>
                </c:pt>
                <c:pt idx="64">
                  <c:v>10.605715293824568</c:v>
                </c:pt>
                <c:pt idx="65">
                  <c:v>10.21325710674031</c:v>
                </c:pt>
                <c:pt idx="66">
                  <c:v>10.558994081076442</c:v>
                </c:pt>
                <c:pt idx="67">
                  <c:v>10.914075297962199</c:v>
                </c:pt>
                <c:pt idx="68">
                  <c:v>11.194402574450953</c:v>
                </c:pt>
                <c:pt idx="69">
                  <c:v>11.381287425443457</c:v>
                </c:pt>
                <c:pt idx="70">
                  <c:v>11.58686076153521</c:v>
                </c:pt>
                <c:pt idx="71">
                  <c:v>11.689647429581088</c:v>
                </c:pt>
                <c:pt idx="72">
                  <c:v>11.932597735871342</c:v>
                </c:pt>
                <c:pt idx="73">
                  <c:v>12.34374440805485</c:v>
                </c:pt>
                <c:pt idx="74">
                  <c:v>12.231613497459346</c:v>
                </c:pt>
                <c:pt idx="75">
                  <c:v>11.951286220970593</c:v>
                </c:pt>
                <c:pt idx="76">
                  <c:v>12.353088650604473</c:v>
                </c:pt>
                <c:pt idx="77">
                  <c:v>12.726858352589479</c:v>
                </c:pt>
                <c:pt idx="78">
                  <c:v>12.624071684543605</c:v>
                </c:pt>
                <c:pt idx="79">
                  <c:v>12.399809863352599</c:v>
                </c:pt>
                <c:pt idx="80">
                  <c:v>11.951286220970593</c:v>
                </c:pt>
                <c:pt idx="81">
                  <c:v>11.87653228057359</c:v>
                </c:pt>
                <c:pt idx="82">
                  <c:v>12.156859557062345</c:v>
                </c:pt>
                <c:pt idx="83">
                  <c:v>12.128826829413471</c:v>
                </c:pt>
                <c:pt idx="84">
                  <c:v>11.652270459382587</c:v>
                </c:pt>
                <c:pt idx="85">
                  <c:v>12.007351676268343</c:v>
                </c:pt>
                <c:pt idx="86">
                  <c:v>12.446531076100726</c:v>
                </c:pt>
                <c:pt idx="87">
                  <c:v>12.558661986696228</c:v>
                </c:pt>
                <c:pt idx="88">
                  <c:v>12.549317744146602</c:v>
                </c:pt>
                <c:pt idx="89">
                  <c:v>12.306367437856348</c:v>
                </c:pt>
                <c:pt idx="90">
                  <c:v>12.57735047179548</c:v>
                </c:pt>
                <c:pt idx="91">
                  <c:v>12.969808658879737</c:v>
                </c:pt>
                <c:pt idx="92">
                  <c:v>13.11931653967374</c:v>
                </c:pt>
                <c:pt idx="93">
                  <c:v>13.98833109678888</c:v>
                </c:pt>
                <c:pt idx="94">
                  <c:v>15.156361415492027</c:v>
                </c:pt>
                <c:pt idx="95">
                  <c:v>15.84783536416429</c:v>
                </c:pt>
                <c:pt idx="96">
                  <c:v>16.399145674592173</c:v>
                </c:pt>
                <c:pt idx="97">
                  <c:v>17.8194705421352</c:v>
                </c:pt>
                <c:pt idx="98">
                  <c:v>20.54798936662575</c:v>
                </c:pt>
                <c:pt idx="99">
                  <c:v>21.66929847258077</c:v>
                </c:pt>
                <c:pt idx="100">
                  <c:v>22.73454212323804</c:v>
                </c:pt>
                <c:pt idx="101">
                  <c:v>24.005359109987062</c:v>
                </c:pt>
                <c:pt idx="102">
                  <c:v>24.407161539620944</c:v>
                </c:pt>
                <c:pt idx="103">
                  <c:v>24.369784569422443</c:v>
                </c:pt>
                <c:pt idx="104">
                  <c:v>25.313553066934585</c:v>
                </c:pt>
                <c:pt idx="105">
                  <c:v>25.070602760644331</c:v>
                </c:pt>
                <c:pt idx="106">
                  <c:v>26.388140960141477</c:v>
                </c:pt>
                <c:pt idx="107">
                  <c:v>27.715023402188255</c:v>
                </c:pt>
                <c:pt idx="108">
                  <c:v>27.715023402188255</c:v>
                </c:pt>
                <c:pt idx="109">
                  <c:v>28.200924014768759</c:v>
                </c:pt>
                <c:pt idx="110">
                  <c:v>28.677480384799647</c:v>
                </c:pt>
                <c:pt idx="111">
                  <c:v>28.556005231654517</c:v>
                </c:pt>
                <c:pt idx="112">
                  <c:v>28.920430691089901</c:v>
                </c:pt>
                <c:pt idx="113">
                  <c:v>28.920430691089901</c:v>
                </c:pt>
                <c:pt idx="114">
                  <c:v>28.191579772219136</c:v>
                </c:pt>
                <c:pt idx="115">
                  <c:v>28.873709478341773</c:v>
                </c:pt>
                <c:pt idx="116">
                  <c:v>29.920264643899792</c:v>
                </c:pt>
                <c:pt idx="117">
                  <c:v>30.50895192452618</c:v>
                </c:pt>
                <c:pt idx="118">
                  <c:v>32.312390736603838</c:v>
                </c:pt>
                <c:pt idx="119">
                  <c:v>31.172393145549567</c:v>
                </c:pt>
                <c:pt idx="120">
                  <c:v>33.13468408097085</c:v>
                </c:pt>
                <c:pt idx="121">
                  <c:v>37.218118075157051</c:v>
                </c:pt>
                <c:pt idx="122">
                  <c:v>40.124177508090476</c:v>
                </c:pt>
                <c:pt idx="123">
                  <c:v>41.413682979938756</c:v>
                </c:pt>
                <c:pt idx="124">
                  <c:v>42.049091473313261</c:v>
                </c:pt>
                <c:pt idx="125">
                  <c:v>43.291875732413416</c:v>
                </c:pt>
                <c:pt idx="126">
                  <c:v>49.272190964173518</c:v>
                </c:pt>
                <c:pt idx="127">
                  <c:v>52.215627367305444</c:v>
                </c:pt>
                <c:pt idx="128">
                  <c:v>52.879068588328835</c:v>
                </c:pt>
                <c:pt idx="129">
                  <c:v>54.654474672757622</c:v>
                </c:pt>
                <c:pt idx="130">
                  <c:v>55.729062565964504</c:v>
                </c:pt>
                <c:pt idx="131">
                  <c:v>55.89725893185777</c:v>
                </c:pt>
                <c:pt idx="132">
                  <c:v>60.91511718100648</c:v>
                </c:pt>
                <c:pt idx="133">
                  <c:v>64.587404503009168</c:v>
                </c:pt>
                <c:pt idx="134">
                  <c:v>68.801657892890134</c:v>
                </c:pt>
                <c:pt idx="135">
                  <c:v>73.9129585675351</c:v>
                </c:pt>
                <c:pt idx="136">
                  <c:v>81.051959875448716</c:v>
                </c:pt>
                <c:pt idx="137">
                  <c:v>85.63998296731468</c:v>
                </c:pt>
                <c:pt idx="138">
                  <c:v>89.928990297592634</c:v>
                </c:pt>
                <c:pt idx="139">
                  <c:v>101.06732741674584</c:v>
                </c:pt>
                <c:pt idx="140">
                  <c:v>117.34499793819289</c:v>
                </c:pt>
                <c:pt idx="141">
                  <c:v>133.97774967652569</c:v>
                </c:pt>
                <c:pt idx="142">
                  <c:v>153.64738024348665</c:v>
                </c:pt>
                <c:pt idx="143">
                  <c:v>176.60618418791572</c:v>
                </c:pt>
                <c:pt idx="144">
                  <c:v>191.53828378221672</c:v>
                </c:pt>
                <c:pt idx="145">
                  <c:v>201.28432876147579</c:v>
                </c:pt>
                <c:pt idx="146">
                  <c:v>217.63675322331983</c:v>
                </c:pt>
                <c:pt idx="147">
                  <c:v>246.04325057418032</c:v>
                </c:pt>
                <c:pt idx="148">
                  <c:v>270.19811756496142</c:v>
                </c:pt>
                <c:pt idx="149">
                  <c:v>276.8512182602945</c:v>
                </c:pt>
                <c:pt idx="150">
                  <c:v>291.00774572297667</c:v>
                </c:pt>
                <c:pt idx="151">
                  <c:v>312.51819207221382</c:v>
                </c:pt>
                <c:pt idx="152">
                  <c:v>321.38587825180809</c:v>
                </c:pt>
                <c:pt idx="153">
                  <c:v>352.44614048676215</c:v>
                </c:pt>
                <c:pt idx="154">
                  <c:v>386.46852760994739</c:v>
                </c:pt>
                <c:pt idx="155">
                  <c:v>420.24796442684237</c:v>
                </c:pt>
                <c:pt idx="156">
                  <c:v>458.72755524619885</c:v>
                </c:pt>
                <c:pt idx="157">
                  <c:v>491.38568295713878</c:v>
                </c:pt>
                <c:pt idx="158">
                  <c:v>497.76780061853276</c:v>
                </c:pt>
                <c:pt idx="159">
                  <c:v>499.85156670709927</c:v>
                </c:pt>
                <c:pt idx="160">
                  <c:v>515.50317297772131</c:v>
                </c:pt>
                <c:pt idx="161">
                  <c:v>558.86980265053171</c:v>
                </c:pt>
                <c:pt idx="162">
                  <c:v>596.88218134240697</c:v>
                </c:pt>
                <c:pt idx="163">
                  <c:v>615.24361795242044</c:v>
                </c:pt>
                <c:pt idx="164">
                  <c:v>661.93679797289747</c:v>
                </c:pt>
                <c:pt idx="165">
                  <c:v>694.0623038585087</c:v>
                </c:pt>
                <c:pt idx="166">
                  <c:v>719.00208722345837</c:v>
                </c:pt>
                <c:pt idx="167">
                  <c:v>740.14810811326004</c:v>
                </c:pt>
                <c:pt idx="168">
                  <c:v>814.44418062532975</c:v>
                </c:pt>
                <c:pt idx="169">
                  <c:v>820.15351282315078</c:v>
                </c:pt>
                <c:pt idx="170">
                  <c:v>848.2329616847743</c:v>
                </c:pt>
                <c:pt idx="171">
                  <c:v>929.70541247495623</c:v>
                </c:pt>
                <c:pt idx="172">
                  <c:v>978.59448949459522</c:v>
                </c:pt>
                <c:pt idx="173">
                  <c:v>1002.7213237577274</c:v>
                </c:pt>
                <c:pt idx="174">
                  <c:v>1030.3148720067704</c:v>
                </c:pt>
                <c:pt idx="175">
                  <c:v>1061.7956251564576</c:v>
                </c:pt>
                <c:pt idx="176">
                  <c:v>1097.9952207937056</c:v>
                </c:pt>
                <c:pt idx="177">
                  <c:v>1233.3091971548276</c:v>
                </c:pt>
                <c:pt idx="178">
                  <c:v>1208.9954780407029</c:v>
                </c:pt>
                <c:pt idx="179">
                  <c:v>1191.3628923495603</c:v>
                </c:pt>
                <c:pt idx="180">
                  <c:v>1201.0809046011705</c:v>
                </c:pt>
                <c:pt idx="181">
                  <c:v>1230.0760892326573</c:v>
                </c:pt>
                <c:pt idx="182">
                  <c:v>1193.6709202593177</c:v>
                </c:pt>
                <c:pt idx="183">
                  <c:v>1222.6941376184534</c:v>
                </c:pt>
                <c:pt idx="184">
                  <c:v>1135.5310431155499</c:v>
                </c:pt>
                <c:pt idx="185">
                  <c:v>1110.3389652017604</c:v>
                </c:pt>
                <c:pt idx="186">
                  <c:v>1095.8834219774901</c:v>
                </c:pt>
                <c:pt idx="187">
                  <c:v>1068.1216773625538</c:v>
                </c:pt>
                <c:pt idx="188">
                  <c:v>1048.872537710326</c:v>
                </c:pt>
                <c:pt idx="189">
                  <c:v>1025.390456183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C$122:$C$344</c:f>
              <c:numCache>
                <c:formatCode>General</c:formatCode>
                <c:ptCount val="22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4C6-4CA2-937D-BBB2646D5F6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D$122:$D$344</c:f>
              <c:numCache>
                <c:formatCode>General</c:formatCode>
                <c:ptCount val="223"/>
                <c:pt idx="185" formatCode="0">
                  <c:v>1166.6659029932464</c:v>
                </c:pt>
                <c:pt idx="186" formatCode="0">
                  <c:v>1152.0456624883623</c:v>
                </c:pt>
                <c:pt idx="187" formatCode="0">
                  <c:v>1135.155501504423</c:v>
                </c:pt>
                <c:pt idx="188" formatCode="0">
                  <c:v>1118.8104468720844</c:v>
                </c:pt>
                <c:pt idx="189" formatCode="0">
                  <c:v>1103.7183232568591</c:v>
                </c:pt>
                <c:pt idx="190" formatCode="0">
                  <c:v>1085.9982988719744</c:v>
                </c:pt>
                <c:pt idx="191" formatCode="0">
                  <c:v>1064.0801419881916</c:v>
                </c:pt>
                <c:pt idx="192" formatCode="0">
                  <c:v>1043.76476049643</c:v>
                </c:pt>
                <c:pt idx="193" formatCode="0">
                  <c:v>1025.2474163733825</c:v>
                </c:pt>
                <c:pt idx="194" formatCode="0">
                  <c:v>1007.8772363634062</c:v>
                </c:pt>
                <c:pt idx="195" formatCode="0">
                  <c:v>990.43383311216996</c:v>
                </c:pt>
                <c:pt idx="196" formatCode="0">
                  <c:v>972.70567281158992</c:v>
                </c:pt>
                <c:pt idx="197" formatCode="0">
                  <c:v>954.57071672623283</c:v>
                </c:pt>
                <c:pt idx="198" formatCode="0">
                  <c:v>936.71238177452415</c:v>
                </c:pt>
                <c:pt idx="199" formatCode="0">
                  <c:v>919.98493910449542</c:v>
                </c:pt>
                <c:pt idx="200" formatCode="0">
                  <c:v>903.90023377441423</c:v>
                </c:pt>
                <c:pt idx="201" formatCode="0">
                  <c:v>887.94570309546157</c:v>
                </c:pt>
                <c:pt idx="202" formatCode="0">
                  <c:v>871.90167734385795</c:v>
                </c:pt>
                <c:pt idx="203" formatCode="0">
                  <c:v>856.03664173755647</c:v>
                </c:pt>
                <c:pt idx="204" formatCode="0">
                  <c:v>840.53772233755421</c:v>
                </c:pt>
                <c:pt idx="205" formatCode="0">
                  <c:v>825.5432297106754</c:v>
                </c:pt>
                <c:pt idx="206" formatCode="0">
                  <c:v>810.95553286857353</c:v>
                </c:pt>
                <c:pt idx="207" formatCode="0">
                  <c:v>796.56309800316444</c:v>
                </c:pt>
                <c:pt idx="208" formatCode="0">
                  <c:v>782.30083778888411</c:v>
                </c:pt>
                <c:pt idx="209" formatCode="0">
                  <c:v>768.25824729838337</c:v>
                </c:pt>
                <c:pt idx="210" formatCode="0">
                  <c:v>754.5492293513995</c:v>
                </c:pt>
                <c:pt idx="211" formatCode="0">
                  <c:v>741.17378394793298</c:v>
                </c:pt>
                <c:pt idx="212" formatCode="0">
                  <c:v>728.06682376241929</c:v>
                </c:pt>
                <c:pt idx="213" formatCode="0">
                  <c:v>715.17139738498952</c:v>
                </c:pt>
                <c:pt idx="214" formatCode="0">
                  <c:v>702.47936889994821</c:v>
                </c:pt>
                <c:pt idx="215" formatCode="0">
                  <c:v>690.01514605438206</c:v>
                </c:pt>
                <c:pt idx="216" formatCode="0">
                  <c:v>677.81940842676863</c:v>
                </c:pt>
                <c:pt idx="217" formatCode="0">
                  <c:v>665.86774827002148</c:v>
                </c:pt>
                <c:pt idx="218" formatCode="0">
                  <c:v>654.15202966844492</c:v>
                </c:pt>
                <c:pt idx="219" formatCode="0">
                  <c:v>642.64784487495228</c:v>
                </c:pt>
                <c:pt idx="220" formatCode="0">
                  <c:v>631.34705797384822</c:v>
                </c:pt>
                <c:pt idx="221" formatCode="0">
                  <c:v>620.25780488082819</c:v>
                </c:pt>
                <c:pt idx="222" formatCode="0">
                  <c:v>609.388221511587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4C6-4CA2-937D-BBB2646D5F6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E$122:$E$344</c:f>
              <c:numCache>
                <c:formatCode>General</c:formatCode>
                <c:ptCount val="223"/>
                <c:pt idx="185" formatCode="0">
                  <c:v>1170.2701136463702</c:v>
                </c:pt>
                <c:pt idx="186" formatCode="0">
                  <c:v>1161.2473831400173</c:v>
                </c:pt>
                <c:pt idx="187" formatCode="0">
                  <c:v>1151.0774885205931</c:v>
                </c:pt>
                <c:pt idx="188" formatCode="0">
                  <c:v>1142.0954375927176</c:v>
                </c:pt>
                <c:pt idx="189" formatCode="0">
                  <c:v>1135.5378895421131</c:v>
                </c:pt>
                <c:pt idx="190" formatCode="0">
                  <c:v>1127.8169055470464</c:v>
                </c:pt>
                <c:pt idx="191" formatCode="0">
                  <c:v>1117.476156698016</c:v>
                </c:pt>
                <c:pt idx="192" formatCode="0">
                  <c:v>1106.7692916426861</c:v>
                </c:pt>
                <c:pt idx="193" formatCode="0">
                  <c:v>1096.9248336510836</c:v>
                </c:pt>
                <c:pt idx="194" formatCode="0">
                  <c:v>1088.0648214586415</c:v>
                </c:pt>
                <c:pt idx="195" formatCode="0">
                  <c:v>1079.5465177254118</c:v>
                </c:pt>
                <c:pt idx="196" formatCode="0">
                  <c:v>1070.8410879311848</c:v>
                </c:pt>
                <c:pt idx="197" formatCode="0">
                  <c:v>1061.4929207970101</c:v>
                </c:pt>
                <c:pt idx="198" formatCode="0">
                  <c:v>1051.9494916861427</c:v>
                </c:pt>
                <c:pt idx="199" formatCode="0">
                  <c:v>1042.8860816013118</c:v>
                </c:pt>
                <c:pt idx="200" formatCode="0">
                  <c:v>1034.318962373909</c:v>
                </c:pt>
                <c:pt idx="201" formatCode="0">
                  <c:v>1025.873881881939</c:v>
                </c:pt>
                <c:pt idx="202" formatCode="0">
                  <c:v>1017.2823549074495</c:v>
                </c:pt>
                <c:pt idx="203" formatCode="0">
                  <c:v>1008.5687891975271</c:v>
                </c:pt>
                <c:pt idx="204" formatCode="0">
                  <c:v>999.87963123469115</c:v>
                </c:pt>
                <c:pt idx="205" formatCode="0">
                  <c:v>991.41827891133028</c:v>
                </c:pt>
                <c:pt idx="206" formatCode="0">
                  <c:v>983.18473222744444</c:v>
                </c:pt>
                <c:pt idx="207" formatCode="0">
                  <c:v>975.04068061620967</c:v>
                </c:pt>
                <c:pt idx="208" formatCode="0">
                  <c:v>966.87222125788821</c:v>
                </c:pt>
                <c:pt idx="209" formatCode="0">
                  <c:v>958.68749006817575</c:v>
                </c:pt>
                <c:pt idx="210" formatCode="0">
                  <c:v>950.58411803541878</c:v>
                </c:pt>
                <c:pt idx="211" formatCode="0">
                  <c:v>942.62719248518113</c:v>
                </c:pt>
                <c:pt idx="212" formatCode="0">
                  <c:v>934.7841697546811</c:v>
                </c:pt>
                <c:pt idx="213" formatCode="0">
                  <c:v>927.00623434974568</c:v>
                </c:pt>
                <c:pt idx="214" formatCode="0">
                  <c:v>919.26084260759239</c:v>
                </c:pt>
                <c:pt idx="215" formatCode="0">
                  <c:v>911.56426635961213</c:v>
                </c:pt>
                <c:pt idx="216" formatCode="0">
                  <c:v>903.9490492685876</c:v>
                </c:pt>
                <c:pt idx="217" formatCode="0">
                  <c:v>896.43146316590901</c:v>
                </c:pt>
                <c:pt idx="218" formatCode="0">
                  <c:v>888.99523622018614</c:v>
                </c:pt>
                <c:pt idx="219" formatCode="0">
                  <c:v>881.61596068433209</c:v>
                </c:pt>
                <c:pt idx="220" formatCode="0">
                  <c:v>874.29363655834675</c:v>
                </c:pt>
                <c:pt idx="221" formatCode="0">
                  <c:v>867.03639975792578</c:v>
                </c:pt>
                <c:pt idx="222" formatCode="0">
                  <c:v>859.844250283068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4C6-4CA2-937D-BBB2646D5F64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F$122:$F$344</c:f>
              <c:numCache>
                <c:formatCode>General</c:formatCode>
                <c:ptCount val="223"/>
                <c:pt idx="185" formatCode="0">
                  <c:v>1177.4866708683137</c:v>
                </c:pt>
                <c:pt idx="186" formatCode="0">
                  <c:v>1179.667096274718</c:v>
                </c:pt>
                <c:pt idx="187" formatCode="0">
                  <c:v>1182.9214625529337</c:v>
                </c:pt>
                <c:pt idx="188" formatCode="0">
                  <c:v>1188.6410112868978</c:v>
                </c:pt>
                <c:pt idx="189" formatCode="0">
                  <c:v>1199.4048277520965</c:v>
                </c:pt>
                <c:pt idx="190" formatCode="0">
                  <c:v>1212.3572055393952</c:v>
                </c:pt>
                <c:pt idx="191" formatCode="0">
                  <c:v>1226.3591164514182</c:v>
                </c:pt>
                <c:pt idx="192" formatCode="0">
                  <c:v>1236.6022343121022</c:v>
                </c:pt>
                <c:pt idx="193" formatCode="0">
                  <c:v>1246.292109905489</c:v>
                </c:pt>
                <c:pt idx="194" formatCode="0">
                  <c:v>1257.1454214433388</c:v>
                </c:pt>
                <c:pt idx="195" formatCode="0">
                  <c:v>1269.8618576754666</c:v>
                </c:pt>
                <c:pt idx="196" formatCode="0">
                  <c:v>1283.2047594161509</c:v>
                </c:pt>
                <c:pt idx="197" formatCode="0">
                  <c:v>1295.9374674796702</c:v>
                </c:pt>
                <c:pt idx="198" formatCode="0">
                  <c:v>1307.9460790462861</c:v>
                </c:pt>
                <c:pt idx="199" formatCode="0">
                  <c:v>1319.5153511653432</c:v>
                </c:pt>
                <c:pt idx="200" formatCode="0">
                  <c:v>1331.8331275283892</c:v>
                </c:pt>
                <c:pt idx="201" formatCode="0">
                  <c:v>1344.9156799668165</c:v>
                </c:pt>
                <c:pt idx="202" formatCode="0">
                  <c:v>1358.2748535388921</c:v>
                </c:pt>
                <c:pt idx="203" formatCode="0">
                  <c:v>1371.3329982302325</c:v>
                </c:pt>
                <c:pt idx="204" formatCode="0">
                  <c:v>1384.114521787925</c:v>
                </c:pt>
                <c:pt idx="205" formatCode="0">
                  <c:v>1396.9692685868768</c:v>
                </c:pt>
                <c:pt idx="206" formatCode="0">
                  <c:v>1410.181995676433</c:v>
                </c:pt>
                <c:pt idx="207" formatCode="0">
                  <c:v>1423.7852467193745</c:v>
                </c:pt>
                <c:pt idx="208" formatCode="0">
                  <c:v>1437.5105364977496</c:v>
                </c:pt>
                <c:pt idx="209" formatCode="0">
                  <c:v>1451.1707389505596</c:v>
                </c:pt>
                <c:pt idx="210" formatCode="0">
                  <c:v>1464.7821259091966</c:v>
                </c:pt>
                <c:pt idx="211" formatCode="0">
                  <c:v>1478.5480952660491</c:v>
                </c:pt>
                <c:pt idx="212" formatCode="0">
                  <c:v>1492.5662780094633</c:v>
                </c:pt>
                <c:pt idx="213" formatCode="0">
                  <c:v>1506.7878586452662</c:v>
                </c:pt>
                <c:pt idx="214" formatCode="0">
                  <c:v>1521.1233421008064</c:v>
                </c:pt>
                <c:pt idx="215" formatCode="0">
                  <c:v>1535.4995051348244</c:v>
                </c:pt>
                <c:pt idx="216" formatCode="0">
                  <c:v>1549.965163241493</c:v>
                </c:pt>
                <c:pt idx="217" formatCode="0">
                  <c:v>1564.5772678306816</c:v>
                </c:pt>
                <c:pt idx="218" formatCode="0">
                  <c:v>1579.368362565172</c:v>
                </c:pt>
                <c:pt idx="219" formatCode="0">
                  <c:v>1594.3221756135733</c:v>
                </c:pt>
                <c:pt idx="220" formatCode="0">
                  <c:v>1609.3898914817121</c:v>
                </c:pt>
                <c:pt idx="221" formatCode="0">
                  <c:v>1624.5552383381971</c:v>
                </c:pt>
                <c:pt idx="222" formatCode="0">
                  <c:v>1639.84262393011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4C6-4CA2-937D-BBB2646D5F64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G$122:$G$344</c:f>
              <c:numCache>
                <c:formatCode>General</c:formatCode>
                <c:ptCount val="223"/>
                <c:pt idx="185" formatCode="0">
                  <c:v>1181.0908815214375</c:v>
                </c:pt>
                <c:pt idx="186" formatCode="0">
                  <c:v>1188.8769528420687</c:v>
                </c:pt>
                <c:pt idx="187" formatCode="0">
                  <c:v>1198.8515854847999</c:v>
                </c:pt>
                <c:pt idx="188" formatCode="0">
                  <c:v>1211.9260020075315</c:v>
                </c:pt>
                <c:pt idx="189" formatCode="0">
                  <c:v>1231.4847433396078</c:v>
                </c:pt>
                <c:pt idx="190" formatCode="0">
                  <c:v>1255.1114425194539</c:v>
                </c:pt>
                <c:pt idx="191" formatCode="0">
                  <c:v>1281.8786051577783</c:v>
                </c:pt>
                <c:pt idx="192" formatCode="0">
                  <c:v>1303.4713254137394</c:v>
                </c:pt>
                <c:pt idx="193" formatCode="0">
                  <c:v>1324.0226484606717</c:v>
                </c:pt>
                <c:pt idx="194" formatCode="0">
                  <c:v>1346.1035236583652</c:v>
                </c:pt>
                <c:pt idx="195" formatCode="0">
                  <c:v>1371.1702799163218</c:v>
                </c:pt>
                <c:pt idx="196" formatCode="0">
                  <c:v>1397.6364136739112</c:v>
                </c:pt>
                <c:pt idx="197" formatCode="0">
                  <c:v>1423.8340622135474</c:v>
                </c:pt>
                <c:pt idx="198" formatCode="0">
                  <c:v>1449.2832065091943</c:v>
                </c:pt>
                <c:pt idx="199" formatCode="0">
                  <c:v>1474.0977493805892</c:v>
                </c:pt>
                <c:pt idx="200" formatCode="0">
                  <c:v>1500.1408155220106</c:v>
                </c:pt>
                <c:pt idx="201" formatCode="0">
                  <c:v>1527.6646183200196</c:v>
                </c:pt>
                <c:pt idx="202" formatCode="0">
                  <c:v>1556.0833718445385</c:v>
                </c:pt>
                <c:pt idx="203" formatCode="0">
                  <c:v>1584.4126302964064</c:v>
                </c:pt>
                <c:pt idx="204" formatCode="0">
                  <c:v>1612.6117140971455</c:v>
                </c:pt>
                <c:pt idx="205" formatCode="0">
                  <c:v>1641.1769141041837</c:v>
                </c:pt>
                <c:pt idx="206" formatCode="0">
                  <c:v>1670.5475697650809</c:v>
                </c:pt>
                <c:pt idx="207" formatCode="0">
                  <c:v>1700.8863993937471</c:v>
                </c:pt>
                <c:pt idx="208" formatCode="0">
                  <c:v>1731.8191508681871</c:v>
                </c:pt>
                <c:pt idx="209" formatCode="0">
                  <c:v>1763.0366593919714</c:v>
                </c:pt>
                <c:pt idx="210" formatCode="0">
                  <c:v>1794.5145172180128</c:v>
                </c:pt>
                <c:pt idx="211" formatCode="0">
                  <c:v>1826.545617311351</c:v>
                </c:pt>
                <c:pt idx="212" formatCode="0">
                  <c:v>1859.3252216486787</c:v>
                </c:pt>
                <c:pt idx="213" formatCode="0">
                  <c:v>1892.837058398605</c:v>
                </c:pt>
                <c:pt idx="214" formatCode="0">
                  <c:v>1926.9265451629144</c:v>
                </c:pt>
                <c:pt idx="215" formatCode="0">
                  <c:v>1961.487915037565</c:v>
                </c:pt>
                <c:pt idx="216" formatCode="0">
                  <c:v>1996.5537116853397</c:v>
                </c:pt>
                <c:pt idx="217" formatCode="0">
                  <c:v>2032.2459738416708</c:v>
                </c:pt>
                <c:pt idx="218" formatCode="0">
                  <c:v>2068.6541965792089</c:v>
                </c:pt>
                <c:pt idx="219" formatCode="0">
                  <c:v>2105.7621080665635</c:v>
                </c:pt>
                <c:pt idx="220" formatCode="0">
                  <c:v>2143.4964850624747</c:v>
                </c:pt>
                <c:pt idx="221" formatCode="0">
                  <c:v>2181.8410557355514</c:v>
                </c:pt>
                <c:pt idx="222" formatCode="0">
                  <c:v>2220.82022783287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H$122:$H$344</c:f>
              <c:numCache>
                <c:formatCode>0</c:formatCode>
                <c:ptCount val="22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  <c:pt idx="188" formatCode="General">
                  <c:v>100</c:v>
                </c:pt>
                <c:pt idx="189" formatCode="General">
                  <c:v>100</c:v>
                </c:pt>
                <c:pt idx="190" formatCode="General">
                  <c:v>100</c:v>
                </c:pt>
                <c:pt idx="191" formatCode="General">
                  <c:v>100</c:v>
                </c:pt>
                <c:pt idx="192" formatCode="General">
                  <c:v>100</c:v>
                </c:pt>
                <c:pt idx="193" formatCode="General">
                  <c:v>100</c:v>
                </c:pt>
                <c:pt idx="194" formatCode="General">
                  <c:v>100</c:v>
                </c:pt>
                <c:pt idx="195" formatCode="General">
                  <c:v>100</c:v>
                </c:pt>
                <c:pt idx="196" formatCode="General">
                  <c:v>100</c:v>
                </c:pt>
                <c:pt idx="197" formatCode="General">
                  <c:v>100</c:v>
                </c:pt>
                <c:pt idx="198" formatCode="General">
                  <c:v>100</c:v>
                </c:pt>
                <c:pt idx="199" formatCode="General">
                  <c:v>100</c:v>
                </c:pt>
                <c:pt idx="200" formatCode="General">
                  <c:v>100</c:v>
                </c:pt>
                <c:pt idx="201" formatCode="General">
                  <c:v>100</c:v>
                </c:pt>
                <c:pt idx="202" formatCode="General">
                  <c:v>100</c:v>
                </c:pt>
                <c:pt idx="203" formatCode="General">
                  <c:v>100</c:v>
                </c:pt>
                <c:pt idx="204" formatCode="General">
                  <c:v>100</c:v>
                </c:pt>
                <c:pt idx="205" formatCode="General">
                  <c:v>100</c:v>
                </c:pt>
                <c:pt idx="206" formatCode="General">
                  <c:v>100</c:v>
                </c:pt>
                <c:pt idx="207" formatCode="General">
                  <c:v>100</c:v>
                </c:pt>
                <c:pt idx="208" formatCode="General">
                  <c:v>100</c:v>
                </c:pt>
                <c:pt idx="209" formatCode="General">
                  <c:v>100</c:v>
                </c:pt>
                <c:pt idx="210" formatCode="General">
                  <c:v>100</c:v>
                </c:pt>
                <c:pt idx="211" formatCode="General">
                  <c:v>100</c:v>
                </c:pt>
                <c:pt idx="212" formatCode="General">
                  <c:v>100</c:v>
                </c:pt>
                <c:pt idx="213" formatCode="General">
                  <c:v>100</c:v>
                </c:pt>
                <c:pt idx="214" formatCode="General">
                  <c:v>100</c:v>
                </c:pt>
                <c:pt idx="215" formatCode="General">
                  <c:v>100</c:v>
                </c:pt>
                <c:pt idx="216" formatCode="General">
                  <c:v>100</c:v>
                </c:pt>
                <c:pt idx="217" formatCode="General">
                  <c:v>100</c:v>
                </c:pt>
                <c:pt idx="218" formatCode="General">
                  <c:v>100</c:v>
                </c:pt>
                <c:pt idx="219" formatCode="General">
                  <c:v>100</c:v>
                </c:pt>
                <c:pt idx="220" formatCode="General">
                  <c:v>100</c:v>
                </c:pt>
                <c:pt idx="221" formatCode="General">
                  <c:v>100</c:v>
                </c:pt>
                <c:pt idx="222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1F-4F8C-8040-ED76FB7F1E10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I$122:$I$344</c:f>
              <c:numCache>
                <c:formatCode>0</c:formatCode>
                <c:ptCount val="22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  <c:pt idx="188" formatCode="General">
                  <c:v>50</c:v>
                </c:pt>
                <c:pt idx="189" formatCode="General">
                  <c:v>50</c:v>
                </c:pt>
                <c:pt idx="190" formatCode="General">
                  <c:v>50</c:v>
                </c:pt>
                <c:pt idx="191" formatCode="General">
                  <c:v>50</c:v>
                </c:pt>
                <c:pt idx="192" formatCode="General">
                  <c:v>50</c:v>
                </c:pt>
                <c:pt idx="193" formatCode="General">
                  <c:v>50</c:v>
                </c:pt>
                <c:pt idx="194" formatCode="General">
                  <c:v>50</c:v>
                </c:pt>
                <c:pt idx="195" formatCode="General">
                  <c:v>50</c:v>
                </c:pt>
                <c:pt idx="196" formatCode="General">
                  <c:v>50</c:v>
                </c:pt>
                <c:pt idx="197" formatCode="General">
                  <c:v>50</c:v>
                </c:pt>
                <c:pt idx="198" formatCode="General">
                  <c:v>50</c:v>
                </c:pt>
                <c:pt idx="199" formatCode="General">
                  <c:v>50</c:v>
                </c:pt>
                <c:pt idx="200" formatCode="General">
                  <c:v>50</c:v>
                </c:pt>
                <c:pt idx="201" formatCode="General">
                  <c:v>50</c:v>
                </c:pt>
                <c:pt idx="202" formatCode="General">
                  <c:v>50</c:v>
                </c:pt>
                <c:pt idx="203" formatCode="General">
                  <c:v>50</c:v>
                </c:pt>
                <c:pt idx="204" formatCode="General">
                  <c:v>50</c:v>
                </c:pt>
                <c:pt idx="205" formatCode="General">
                  <c:v>50</c:v>
                </c:pt>
                <c:pt idx="206" formatCode="General">
                  <c:v>50</c:v>
                </c:pt>
                <c:pt idx="207" formatCode="General">
                  <c:v>50</c:v>
                </c:pt>
                <c:pt idx="208" formatCode="General">
                  <c:v>50</c:v>
                </c:pt>
                <c:pt idx="209" formatCode="General">
                  <c:v>50</c:v>
                </c:pt>
                <c:pt idx="210" formatCode="General">
                  <c:v>50</c:v>
                </c:pt>
                <c:pt idx="211" formatCode="General">
                  <c:v>50</c:v>
                </c:pt>
                <c:pt idx="212" formatCode="General">
                  <c:v>50</c:v>
                </c:pt>
                <c:pt idx="213" formatCode="General">
                  <c:v>50</c:v>
                </c:pt>
                <c:pt idx="214" formatCode="General">
                  <c:v>50</c:v>
                </c:pt>
                <c:pt idx="215" formatCode="General">
                  <c:v>50</c:v>
                </c:pt>
                <c:pt idx="216" formatCode="General">
                  <c:v>50</c:v>
                </c:pt>
                <c:pt idx="217" formatCode="General">
                  <c:v>50</c:v>
                </c:pt>
                <c:pt idx="218" formatCode="General">
                  <c:v>50</c:v>
                </c:pt>
                <c:pt idx="219" formatCode="General">
                  <c:v>50</c:v>
                </c:pt>
                <c:pt idx="220" formatCode="General">
                  <c:v>50</c:v>
                </c:pt>
                <c:pt idx="221" formatCode="General">
                  <c:v>50</c:v>
                </c:pt>
                <c:pt idx="222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1F-4F8C-8040-ED76FB7F1E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B$122:$B$344</c:f>
              <c:numCache>
                <c:formatCode>0</c:formatCode>
                <c:ptCount val="223"/>
                <c:pt idx="0">
                  <c:v>15.300579891977906</c:v>
                </c:pt>
                <c:pt idx="1">
                  <c:v>15.683094389277354</c:v>
                </c:pt>
                <c:pt idx="2">
                  <c:v>16.448123383876251</c:v>
                </c:pt>
                <c:pt idx="3">
                  <c:v>17.97818137307404</c:v>
                </c:pt>
                <c:pt idx="4">
                  <c:v>17.02189512982542</c:v>
                </c:pt>
                <c:pt idx="5">
                  <c:v>17.02189512982542</c:v>
                </c:pt>
                <c:pt idx="6">
                  <c:v>13.770521902780114</c:v>
                </c:pt>
                <c:pt idx="7">
                  <c:v>14.726808146028734</c:v>
                </c:pt>
                <c:pt idx="8">
                  <c:v>13.770521902780114</c:v>
                </c:pt>
                <c:pt idx="9">
                  <c:v>10.901663173034258</c:v>
                </c:pt>
                <c:pt idx="10">
                  <c:v>8.2240616919381253</c:v>
                </c:pt>
                <c:pt idx="11">
                  <c:v>8.7978334378872951</c:v>
                </c:pt>
                <c:pt idx="12">
                  <c:v>8.0328044432884003</c:v>
                </c:pt>
                <c:pt idx="13">
                  <c:v>7.0765182000397813</c:v>
                </c:pt>
                <c:pt idx="14">
                  <c:v>5.1639457135425433</c:v>
                </c:pt>
                <c:pt idx="15">
                  <c:v>4.3989167189436476</c:v>
                </c:pt>
                <c:pt idx="16">
                  <c:v>4.7814312162430959</c:v>
                </c:pt>
                <c:pt idx="17">
                  <c:v>5.1639457135425433</c:v>
                </c:pt>
                <c:pt idx="18">
                  <c:v>4.5901739675933717</c:v>
                </c:pt>
                <c:pt idx="19">
                  <c:v>4.9726884648928191</c:v>
                </c:pt>
                <c:pt idx="20">
                  <c:v>4.9726884648928191</c:v>
                </c:pt>
                <c:pt idx="21">
                  <c:v>4.0164022216442001</c:v>
                </c:pt>
                <c:pt idx="22">
                  <c:v>5.5464602108419907</c:v>
                </c:pt>
                <c:pt idx="23">
                  <c:v>5.9289747081414381</c:v>
                </c:pt>
                <c:pt idx="24">
                  <c:v>5.9289747081414381</c:v>
                </c:pt>
                <c:pt idx="25">
                  <c:v>6.1202319567911614</c:v>
                </c:pt>
                <c:pt idx="26">
                  <c:v>6.1202319567911614</c:v>
                </c:pt>
                <c:pt idx="27">
                  <c:v>5.7377174594917149</c:v>
                </c:pt>
                <c:pt idx="28">
                  <c:v>6.1202319567911614</c:v>
                </c:pt>
                <c:pt idx="29">
                  <c:v>4.7814312162430959</c:v>
                </c:pt>
                <c:pt idx="30">
                  <c:v>4.9726884648928191</c:v>
                </c:pt>
                <c:pt idx="31">
                  <c:v>4.3989167189436476</c:v>
                </c:pt>
                <c:pt idx="32">
                  <c:v>4.3989167189436476</c:v>
                </c:pt>
                <c:pt idx="33">
                  <c:v>4.7814312162430959</c:v>
                </c:pt>
                <c:pt idx="34">
                  <c:v>4.5901739675933717</c:v>
                </c:pt>
                <c:pt idx="35">
                  <c:v>4.3989167189436476</c:v>
                </c:pt>
                <c:pt idx="36">
                  <c:v>4.2076594702939243</c:v>
                </c:pt>
                <c:pt idx="37">
                  <c:v>4.5901739675933717</c:v>
                </c:pt>
                <c:pt idx="38">
                  <c:v>6.8852609513900571</c:v>
                </c:pt>
                <c:pt idx="39">
                  <c:v>8.6065761892375718</c:v>
                </c:pt>
                <c:pt idx="40">
                  <c:v>9.9453769297856383</c:v>
                </c:pt>
                <c:pt idx="41">
                  <c:v>12.049206664932601</c:v>
                </c:pt>
                <c:pt idx="42">
                  <c:v>15.300579891977906</c:v>
                </c:pt>
                <c:pt idx="43">
                  <c:v>16.448123383876251</c:v>
                </c:pt>
                <c:pt idx="44">
                  <c:v>17.213152378475144</c:v>
                </c:pt>
                <c:pt idx="45">
                  <c:v>16.065608886576801</c:v>
                </c:pt>
                <c:pt idx="46">
                  <c:v>14.535550897379009</c:v>
                </c:pt>
                <c:pt idx="47">
                  <c:v>12.622978410881773</c:v>
                </c:pt>
                <c:pt idx="48">
                  <c:v>11.666692167633155</c:v>
                </c:pt>
                <c:pt idx="49">
                  <c:v>9.5628624324861917</c:v>
                </c:pt>
                <c:pt idx="50">
                  <c:v>8.4153189405878486</c:v>
                </c:pt>
                <c:pt idx="51">
                  <c:v>7.4590326973392296</c:v>
                </c:pt>
                <c:pt idx="52">
                  <c:v>6.6940037027403338</c:v>
                </c:pt>
                <c:pt idx="53">
                  <c:v>6.3114892054408864</c:v>
                </c:pt>
                <c:pt idx="54">
                  <c:v>7.6502899459889528</c:v>
                </c:pt>
                <c:pt idx="55">
                  <c:v>7.0765182000397813</c:v>
                </c:pt>
                <c:pt idx="56">
                  <c:v>8.4153189405878486</c:v>
                </c:pt>
                <c:pt idx="57">
                  <c:v>9.9453769297856383</c:v>
                </c:pt>
                <c:pt idx="58">
                  <c:v>11.666692167633155</c:v>
                </c:pt>
                <c:pt idx="59">
                  <c:v>11.857949416282876</c:v>
                </c:pt>
                <c:pt idx="60">
                  <c:v>13.005492908181219</c:v>
                </c:pt>
                <c:pt idx="61">
                  <c:v>13.579264654130393</c:v>
                </c:pt>
                <c:pt idx="62">
                  <c:v>13.388007405480668</c:v>
                </c:pt>
                <c:pt idx="63">
                  <c:v>13.005492908181219</c:v>
                </c:pt>
                <c:pt idx="64">
                  <c:v>12.622978410881773</c:v>
                </c:pt>
                <c:pt idx="65">
                  <c:v>10.710405924384535</c:v>
                </c:pt>
                <c:pt idx="66">
                  <c:v>10.901663173034258</c:v>
                </c:pt>
                <c:pt idx="67">
                  <c:v>10.136634178435363</c:v>
                </c:pt>
                <c:pt idx="68">
                  <c:v>8.7978334378872951</c:v>
                </c:pt>
                <c:pt idx="69">
                  <c:v>9.5628624324861917</c:v>
                </c:pt>
                <c:pt idx="70">
                  <c:v>8.2240616919381253</c:v>
                </c:pt>
                <c:pt idx="71">
                  <c:v>7.4590326973392296</c:v>
                </c:pt>
                <c:pt idx="72">
                  <c:v>7.4590326973392296</c:v>
                </c:pt>
                <c:pt idx="73">
                  <c:v>6.8852609513900571</c:v>
                </c:pt>
                <c:pt idx="74">
                  <c:v>6.5027464540906097</c:v>
                </c:pt>
                <c:pt idx="75">
                  <c:v>5.9289747081414381</c:v>
                </c:pt>
                <c:pt idx="76">
                  <c:v>5.3552029621922674</c:v>
                </c:pt>
                <c:pt idx="77">
                  <c:v>5.1639457135425433</c:v>
                </c:pt>
                <c:pt idx="78">
                  <c:v>5.9289747081414381</c:v>
                </c:pt>
                <c:pt idx="79">
                  <c:v>5.5464602108419907</c:v>
                </c:pt>
                <c:pt idx="80">
                  <c:v>5.1639457135425433</c:v>
                </c:pt>
                <c:pt idx="81">
                  <c:v>5.9289747081414381</c:v>
                </c:pt>
                <c:pt idx="82">
                  <c:v>6.1202319567911614</c:v>
                </c:pt>
                <c:pt idx="83">
                  <c:v>5.3552029621922674</c:v>
                </c:pt>
                <c:pt idx="84">
                  <c:v>5.9289747081414381</c:v>
                </c:pt>
                <c:pt idx="85">
                  <c:v>5.9289747081414381</c:v>
                </c:pt>
                <c:pt idx="86">
                  <c:v>6.1202319567911614</c:v>
                </c:pt>
                <c:pt idx="87">
                  <c:v>6.3114892054408864</c:v>
                </c:pt>
                <c:pt idx="88">
                  <c:v>5.7377174594917149</c:v>
                </c:pt>
                <c:pt idx="89">
                  <c:v>6.1202319567911614</c:v>
                </c:pt>
                <c:pt idx="90">
                  <c:v>6.5027464540906097</c:v>
                </c:pt>
                <c:pt idx="91">
                  <c:v>6.6940037027403338</c:v>
                </c:pt>
                <c:pt idx="92">
                  <c:v>6.3114892054408864</c:v>
                </c:pt>
                <c:pt idx="93">
                  <c:v>8.9890906865370201</c:v>
                </c:pt>
                <c:pt idx="94">
                  <c:v>10.136634178435363</c:v>
                </c:pt>
                <c:pt idx="95">
                  <c:v>12.049206664932601</c:v>
                </c:pt>
                <c:pt idx="96">
                  <c:v>12.240463913582323</c:v>
                </c:pt>
                <c:pt idx="97">
                  <c:v>13.961779151429839</c:v>
                </c:pt>
                <c:pt idx="98">
                  <c:v>17.97818137307404</c:v>
                </c:pt>
                <c:pt idx="99">
                  <c:v>19.125724864972383</c:v>
                </c:pt>
                <c:pt idx="100">
                  <c:v>20.082011108221003</c:v>
                </c:pt>
                <c:pt idx="101">
                  <c:v>23.142127086616583</c:v>
                </c:pt>
                <c:pt idx="102">
                  <c:v>23.907156081215479</c:v>
                </c:pt>
                <c:pt idx="103">
                  <c:v>24.289670578514926</c:v>
                </c:pt>
                <c:pt idx="104">
                  <c:v>24.863442324464096</c:v>
                </c:pt>
                <c:pt idx="105">
                  <c:v>23.715898832565752</c:v>
                </c:pt>
                <c:pt idx="106">
                  <c:v>25.245956821763546</c:v>
                </c:pt>
                <c:pt idx="107">
                  <c:v>24.672185075814372</c:v>
                </c:pt>
                <c:pt idx="108">
                  <c:v>22.568355340667413</c:v>
                </c:pt>
                <c:pt idx="109">
                  <c:v>22.568355340667413</c:v>
                </c:pt>
                <c:pt idx="110">
                  <c:v>22.37709809201769</c:v>
                </c:pt>
                <c:pt idx="111">
                  <c:v>23.33338433526631</c:v>
                </c:pt>
                <c:pt idx="112">
                  <c:v>24.289670578514926</c:v>
                </c:pt>
                <c:pt idx="113">
                  <c:v>24.480927827164646</c:v>
                </c:pt>
                <c:pt idx="114">
                  <c:v>22.759612589317133</c:v>
                </c:pt>
                <c:pt idx="115">
                  <c:v>22.950869837966859</c:v>
                </c:pt>
                <c:pt idx="116">
                  <c:v>21.612069097418793</c:v>
                </c:pt>
                <c:pt idx="117">
                  <c:v>21.42081184876907</c:v>
                </c:pt>
                <c:pt idx="118">
                  <c:v>19.890753859571277</c:v>
                </c:pt>
                <c:pt idx="119">
                  <c:v>19.50823936227183</c:v>
                </c:pt>
                <c:pt idx="120">
                  <c:v>20.273268356870727</c:v>
                </c:pt>
                <c:pt idx="121">
                  <c:v>21.612069097418793</c:v>
                </c:pt>
                <c:pt idx="122">
                  <c:v>22.37709809201769</c:v>
                </c:pt>
                <c:pt idx="123">
                  <c:v>22.759612589317133</c:v>
                </c:pt>
                <c:pt idx="124">
                  <c:v>25.819728567712719</c:v>
                </c:pt>
                <c:pt idx="125">
                  <c:v>27.732301054209952</c:v>
                </c:pt>
                <c:pt idx="126">
                  <c:v>29.836130789356918</c:v>
                </c:pt>
                <c:pt idx="127">
                  <c:v>29.836130789356918</c:v>
                </c:pt>
                <c:pt idx="128">
                  <c:v>32.322475021803328</c:v>
                </c:pt>
                <c:pt idx="129">
                  <c:v>33.470018513701667</c:v>
                </c:pt>
                <c:pt idx="130">
                  <c:v>37.868935232645313</c:v>
                </c:pt>
                <c:pt idx="131">
                  <c:v>38.442706978594487</c:v>
                </c:pt>
                <c:pt idx="132">
                  <c:v>40.73779396239118</c:v>
                </c:pt>
                <c:pt idx="133">
                  <c:v>42.076594702939246</c:v>
                </c:pt>
                <c:pt idx="134">
                  <c:v>47.623054913781232</c:v>
                </c:pt>
                <c:pt idx="135">
                  <c:v>53.169515124623224</c:v>
                </c:pt>
                <c:pt idx="136">
                  <c:v>59.481004330064103</c:v>
                </c:pt>
                <c:pt idx="137">
                  <c:v>61.202319567911623</c:v>
                </c:pt>
                <c:pt idx="138">
                  <c:v>62.349863059809969</c:v>
                </c:pt>
                <c:pt idx="139">
                  <c:v>74.590326973392294</c:v>
                </c:pt>
                <c:pt idx="140">
                  <c:v>93.716051838364663</c:v>
                </c:pt>
                <c:pt idx="141">
                  <c:v>104.42645776274921</c:v>
                </c:pt>
                <c:pt idx="142">
                  <c:v>114.56309194118457</c:v>
                </c:pt>
                <c:pt idx="143">
                  <c:v>129.28990008721331</c:v>
                </c:pt>
                <c:pt idx="144">
                  <c:v>133.88007405480667</c:v>
                </c:pt>
                <c:pt idx="145">
                  <c:v>146.31179521703874</c:v>
                </c:pt>
                <c:pt idx="146">
                  <c:v>163.14243309821444</c:v>
                </c:pt>
                <c:pt idx="147">
                  <c:v>173.85283902259897</c:v>
                </c:pt>
                <c:pt idx="148">
                  <c:v>193.36107838487078</c:v>
                </c:pt>
                <c:pt idx="149">
                  <c:v>196.42119436326638</c:v>
                </c:pt>
                <c:pt idx="150">
                  <c:v>218.79829245528407</c:v>
                </c:pt>
                <c:pt idx="151">
                  <c:v>242.70544853649952</c:v>
                </c:pt>
                <c:pt idx="152">
                  <c:v>244.04424927704761</c:v>
                </c:pt>
                <c:pt idx="153">
                  <c:v>273.68912281775482</c:v>
                </c:pt>
                <c:pt idx="154">
                  <c:v>308.68919932065427</c:v>
                </c:pt>
                <c:pt idx="155">
                  <c:v>345.21933381275153</c:v>
                </c:pt>
                <c:pt idx="156">
                  <c:v>379.64563856970176</c:v>
                </c:pt>
                <c:pt idx="157">
                  <c:v>412.35062808880451</c:v>
                </c:pt>
                <c:pt idx="158">
                  <c:v>431.47635295377694</c:v>
                </c:pt>
                <c:pt idx="159">
                  <c:v>448.49824808360239</c:v>
                </c:pt>
                <c:pt idx="160">
                  <c:v>481.96826659730402</c:v>
                </c:pt>
                <c:pt idx="161">
                  <c:v>494.78250225683553</c:v>
                </c:pt>
                <c:pt idx="162">
                  <c:v>526.91372002998912</c:v>
                </c:pt>
                <c:pt idx="163">
                  <c:v>586.96849610600236</c:v>
                </c:pt>
                <c:pt idx="164">
                  <c:v>619.09971387915596</c:v>
                </c:pt>
                <c:pt idx="165">
                  <c:v>648.74458741986325</c:v>
                </c:pt>
                <c:pt idx="166">
                  <c:v>667.48779778753612</c:v>
                </c:pt>
                <c:pt idx="167">
                  <c:v>718.36222592836259</c:v>
                </c:pt>
                <c:pt idx="168">
                  <c:v>841.72315130743459</c:v>
                </c:pt>
                <c:pt idx="169">
                  <c:v>821.06736845326441</c:v>
                </c:pt>
                <c:pt idx="170">
                  <c:v>878.82705754548101</c:v>
                </c:pt>
                <c:pt idx="171">
                  <c:v>972.16059488654616</c:v>
                </c:pt>
                <c:pt idx="172">
                  <c:v>1007.1606713894456</c:v>
                </c:pt>
                <c:pt idx="173">
                  <c:v>1039.8656609085485</c:v>
                </c:pt>
                <c:pt idx="174">
                  <c:v>1067.7892192114082</c:v>
                </c:pt>
                <c:pt idx="175">
                  <c:v>1111.3958719035452</c:v>
                </c:pt>
                <c:pt idx="176">
                  <c:v>1223.0901051149838</c:v>
                </c:pt>
                <c:pt idx="177">
                  <c:v>1310.6859249965576</c:v>
                </c:pt>
                <c:pt idx="178">
                  <c:v>1337.4619398075185</c:v>
                </c:pt>
                <c:pt idx="179">
                  <c:v>1350.0849182184004</c:v>
                </c:pt>
                <c:pt idx="180">
                  <c:v>1325.0302186452868</c:v>
                </c:pt>
                <c:pt idx="181">
                  <c:v>1350.2761754670503</c:v>
                </c:pt>
                <c:pt idx="182">
                  <c:v>1322.5438744128403</c:v>
                </c:pt>
                <c:pt idx="183">
                  <c:v>1328.0903346236823</c:v>
                </c:pt>
                <c:pt idx="184">
                  <c:v>1279.7022507153022</c:v>
                </c:pt>
                <c:pt idx="185">
                  <c:v>1253.6912648989396</c:v>
                </c:pt>
                <c:pt idx="186">
                  <c:v>1220.7950181311871</c:v>
                </c:pt>
                <c:pt idx="187">
                  <c:v>1225.0026776014811</c:v>
                </c:pt>
                <c:pt idx="188">
                  <c:v>1191.1501445904801</c:v>
                </c:pt>
                <c:pt idx="189">
                  <c:v>1160.93149930382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61F-4F8C-8040-ED76FB7F1E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C$122:$C$344</c:f>
              <c:numCache>
                <c:formatCode>General</c:formatCode>
                <c:ptCount val="22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61F-4F8C-8040-ED76FB7F1E1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D$122:$D$344</c:f>
              <c:numCache>
                <c:formatCode>General</c:formatCode>
                <c:ptCount val="223"/>
                <c:pt idx="185" formatCode="0">
                  <c:v>1315.2760989641506</c:v>
                </c:pt>
                <c:pt idx="186" formatCode="0">
                  <c:v>1298.8279755802746</c:v>
                </c:pt>
                <c:pt idx="187" formatCode="0">
                  <c:v>1279.7022507153022</c:v>
                </c:pt>
                <c:pt idx="188">
                  <c:v>1261.3415548449286</c:v>
                </c:pt>
                <c:pt idx="189">
                  <c:v>1244.3196597151032</c:v>
                </c:pt>
                <c:pt idx="190">
                  <c:v>1224.2376486068822</c:v>
                </c:pt>
                <c:pt idx="191">
                  <c:v>1199.565463531068</c:v>
                </c:pt>
                <c:pt idx="192">
                  <c:v>1176.6145936931009</c:v>
                </c:pt>
                <c:pt idx="193">
                  <c:v>1155.7675535902811</c:v>
                </c:pt>
                <c:pt idx="194">
                  <c:v>1136.2593142280093</c:v>
                </c:pt>
                <c:pt idx="195">
                  <c:v>1116.5598176170877</c:v>
                </c:pt>
                <c:pt idx="196">
                  <c:v>1096.6690637575164</c:v>
                </c:pt>
                <c:pt idx="197">
                  <c:v>1076.2045381519958</c:v>
                </c:pt>
                <c:pt idx="198">
                  <c:v>1055.9312697951252</c:v>
                </c:pt>
                <c:pt idx="199">
                  <c:v>1036.9968021788027</c:v>
                </c:pt>
                <c:pt idx="200">
                  <c:v>1018.8273635570788</c:v>
                </c:pt>
                <c:pt idx="201">
                  <c:v>1000.8491821840047</c:v>
                </c:pt>
                <c:pt idx="202">
                  <c:v>982.67974356228103</c:v>
                </c:pt>
                <c:pt idx="203">
                  <c:v>964.70156218920692</c:v>
                </c:pt>
                <c:pt idx="204">
                  <c:v>947.29715256208215</c:v>
                </c:pt>
                <c:pt idx="205">
                  <c:v>930.46651468090636</c:v>
                </c:pt>
                <c:pt idx="206">
                  <c:v>914.01839129703012</c:v>
                </c:pt>
                <c:pt idx="207">
                  <c:v>897.76152516180366</c:v>
                </c:pt>
                <c:pt idx="208">
                  <c:v>881.69591627522675</c:v>
                </c:pt>
                <c:pt idx="209">
                  <c:v>866.01282188594939</c:v>
                </c:pt>
                <c:pt idx="210">
                  <c:v>850.71224199397159</c:v>
                </c:pt>
                <c:pt idx="211">
                  <c:v>835.60291935064345</c:v>
                </c:pt>
                <c:pt idx="212">
                  <c:v>820.87611120461463</c:v>
                </c:pt>
                <c:pt idx="213">
                  <c:v>806.34056030723571</c:v>
                </c:pt>
                <c:pt idx="214">
                  <c:v>791.99626665850644</c:v>
                </c:pt>
                <c:pt idx="215">
                  <c:v>777.84323025842673</c:v>
                </c:pt>
                <c:pt idx="216">
                  <c:v>764.07270835564668</c:v>
                </c:pt>
                <c:pt idx="217">
                  <c:v>750.4934437015163</c:v>
                </c:pt>
                <c:pt idx="218">
                  <c:v>737.29669354468535</c:v>
                </c:pt>
                <c:pt idx="219">
                  <c:v>724.29120063650407</c:v>
                </c:pt>
                <c:pt idx="220">
                  <c:v>711.66822222562234</c:v>
                </c:pt>
                <c:pt idx="221">
                  <c:v>699.23650106339028</c:v>
                </c:pt>
                <c:pt idx="222">
                  <c:v>686.996037149807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61F-4F8C-8040-ED76FB7F1E1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E$122:$E$344</c:f>
              <c:numCache>
                <c:formatCode>General</c:formatCode>
                <c:ptCount val="223"/>
                <c:pt idx="185" formatCode="0">
                  <c:v>1319.2925011857949</c:v>
                </c:pt>
                <c:pt idx="186" formatCode="0">
                  <c:v>1309.1558670073596</c:v>
                </c:pt>
                <c:pt idx="187" formatCode="0">
                  <c:v>1297.6804320883762</c:v>
                </c:pt>
                <c:pt idx="188">
                  <c:v>1287.5437979099408</c:v>
                </c:pt>
                <c:pt idx="189">
                  <c:v>1280.2760224612512</c:v>
                </c:pt>
                <c:pt idx="190">
                  <c:v>1271.4781890233639</c:v>
                </c:pt>
                <c:pt idx="191">
                  <c:v>1259.8114968557309</c:v>
                </c:pt>
                <c:pt idx="192">
                  <c:v>1247.7622901907982</c:v>
                </c:pt>
                <c:pt idx="193">
                  <c:v>1236.6693697691142</c:v>
                </c:pt>
                <c:pt idx="194">
                  <c:v>1226.7239928393287</c:v>
                </c:pt>
                <c:pt idx="195">
                  <c:v>1217.1611304068424</c:v>
                </c:pt>
                <c:pt idx="196">
                  <c:v>1207.2157534770568</c:v>
                </c:pt>
                <c:pt idx="197">
                  <c:v>1196.6966048013219</c:v>
                </c:pt>
                <c:pt idx="198">
                  <c:v>1185.9861988769376</c:v>
                </c:pt>
                <c:pt idx="199">
                  <c:v>1175.6583074498524</c:v>
                </c:pt>
                <c:pt idx="200">
                  <c:v>1165.9041877687164</c:v>
                </c:pt>
                <c:pt idx="201">
                  <c:v>1156.3413253362303</c:v>
                </c:pt>
                <c:pt idx="202">
                  <c:v>1146.5872056550943</c:v>
                </c:pt>
                <c:pt idx="203">
                  <c:v>1136.8330859739585</c:v>
                </c:pt>
                <c:pt idx="204">
                  <c:v>1127.0789662928223</c:v>
                </c:pt>
                <c:pt idx="205">
                  <c:v>1117.5161038603362</c:v>
                </c:pt>
                <c:pt idx="206">
                  <c:v>1108.3357559251497</c:v>
                </c:pt>
                <c:pt idx="207">
                  <c:v>1099.1554079899627</c:v>
                </c:pt>
                <c:pt idx="208">
                  <c:v>1089.9750600547761</c:v>
                </c:pt>
                <c:pt idx="209">
                  <c:v>1080.7947121195893</c:v>
                </c:pt>
                <c:pt idx="210">
                  <c:v>1071.6143641844026</c:v>
                </c:pt>
                <c:pt idx="211">
                  <c:v>1062.6252734978655</c:v>
                </c:pt>
                <c:pt idx="212">
                  <c:v>1053.6361828113286</c:v>
                </c:pt>
                <c:pt idx="213">
                  <c:v>1044.8383493734414</c:v>
                </c:pt>
                <c:pt idx="214">
                  <c:v>1036.2317731842036</c:v>
                </c:pt>
                <c:pt idx="215">
                  <c:v>1027.4339397463164</c:v>
                </c:pt>
                <c:pt idx="216">
                  <c:v>1018.8273635570788</c:v>
                </c:pt>
                <c:pt idx="217">
                  <c:v>1010.412044616491</c:v>
                </c:pt>
                <c:pt idx="218">
                  <c:v>1001.9967256759032</c:v>
                </c:pt>
                <c:pt idx="219">
                  <c:v>993.77266398396489</c:v>
                </c:pt>
                <c:pt idx="220">
                  <c:v>985.54860229202677</c:v>
                </c:pt>
                <c:pt idx="221">
                  <c:v>977.32454060008877</c:v>
                </c:pt>
                <c:pt idx="222">
                  <c:v>969.291736156800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61F-4F8C-8040-ED76FB7F1E1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F$122:$F$344</c:f>
              <c:numCache>
                <c:formatCode>General</c:formatCode>
                <c:ptCount val="223"/>
                <c:pt idx="185" formatCode="0">
                  <c:v>1327.5165628777331</c:v>
                </c:pt>
                <c:pt idx="186" formatCode="0">
                  <c:v>1330.0029071101794</c:v>
                </c:pt>
                <c:pt idx="187" formatCode="0">
                  <c:v>1333.6367948345242</c:v>
                </c:pt>
                <c:pt idx="188">
                  <c:v>1340.139541288615</c:v>
                </c:pt>
                <c:pt idx="189">
                  <c:v>1352.380005202197</c:v>
                </c:pt>
                <c:pt idx="190">
                  <c:v>1366.9155560995762</c:v>
                </c:pt>
                <c:pt idx="191">
                  <c:v>1382.5986504888535</c:v>
                </c:pt>
                <c:pt idx="192">
                  <c:v>1394.0740854078369</c:v>
                </c:pt>
                <c:pt idx="193">
                  <c:v>1404.9757485808711</c:v>
                </c:pt>
                <c:pt idx="194">
                  <c:v>1417.2162124944537</c:v>
                </c:pt>
                <c:pt idx="195">
                  <c:v>1431.5605061431829</c:v>
                </c:pt>
                <c:pt idx="196">
                  <c:v>1446.4785715378614</c:v>
                </c:pt>
                <c:pt idx="197">
                  <c:v>1460.8228651865907</c:v>
                </c:pt>
                <c:pt idx="198">
                  <c:v>1474.402129840721</c:v>
                </c:pt>
                <c:pt idx="199">
                  <c:v>1487.4076227489022</c:v>
                </c:pt>
                <c:pt idx="200">
                  <c:v>1501.3694019003322</c:v>
                </c:pt>
                <c:pt idx="201">
                  <c:v>1516.0962100463607</c:v>
                </c:pt>
                <c:pt idx="202">
                  <c:v>1531.2055326896889</c:v>
                </c:pt>
                <c:pt idx="203">
                  <c:v>1545.9323408357177</c:v>
                </c:pt>
                <c:pt idx="204">
                  <c:v>1560.276634484447</c:v>
                </c:pt>
                <c:pt idx="205">
                  <c:v>1574.8121853818259</c:v>
                </c:pt>
                <c:pt idx="206">
                  <c:v>1589.7302507765044</c:v>
                </c:pt>
                <c:pt idx="207">
                  <c:v>1605.0308306684822</c:v>
                </c:pt>
                <c:pt idx="208">
                  <c:v>1620.5226678091101</c:v>
                </c:pt>
                <c:pt idx="209">
                  <c:v>1635.8232477010879</c:v>
                </c:pt>
                <c:pt idx="210">
                  <c:v>1651.3150848417156</c:v>
                </c:pt>
                <c:pt idx="211">
                  <c:v>1666.8069219823431</c:v>
                </c:pt>
                <c:pt idx="212">
                  <c:v>1682.4900163716204</c:v>
                </c:pt>
                <c:pt idx="213">
                  <c:v>1698.5556252581971</c:v>
                </c:pt>
                <c:pt idx="214">
                  <c:v>1714.6212341447742</c:v>
                </c:pt>
                <c:pt idx="215">
                  <c:v>1730.8781002800006</c:v>
                </c:pt>
                <c:pt idx="216">
                  <c:v>1747.1349664152272</c:v>
                </c:pt>
                <c:pt idx="217">
                  <c:v>1763.5830897991034</c:v>
                </c:pt>
                <c:pt idx="218">
                  <c:v>1780.413727680279</c:v>
                </c:pt>
                <c:pt idx="219">
                  <c:v>1797.4356228101046</c:v>
                </c:pt>
                <c:pt idx="220">
                  <c:v>1814.4575179399301</c:v>
                </c:pt>
                <c:pt idx="221">
                  <c:v>1831.6706703184052</c:v>
                </c:pt>
                <c:pt idx="222">
                  <c:v>1848.88382269688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C61F-4F8C-8040-ED76FB7F1E1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G$122:$G$344</c:f>
              <c:numCache>
                <c:formatCode>General</c:formatCode>
                <c:ptCount val="223"/>
                <c:pt idx="185" formatCode="0">
                  <c:v>1331.5329650993774</c:v>
                </c:pt>
                <c:pt idx="186" formatCode="0">
                  <c:v>1340.3307985372646</c:v>
                </c:pt>
                <c:pt idx="187" formatCode="0">
                  <c:v>1351.6149762075981</c:v>
                </c:pt>
                <c:pt idx="188">
                  <c:v>1366.341784353627</c:v>
                </c:pt>
                <c:pt idx="189">
                  <c:v>1388.5276251969951</c:v>
                </c:pt>
                <c:pt idx="190">
                  <c:v>1415.1123827593065</c:v>
                </c:pt>
                <c:pt idx="191">
                  <c:v>1445.1397707973133</c:v>
                </c:pt>
                <c:pt idx="192">
                  <c:v>1469.4294413758282</c:v>
                </c:pt>
                <c:pt idx="193">
                  <c:v>1492.5715684624447</c:v>
                </c:pt>
                <c:pt idx="194">
                  <c:v>1517.4350107869088</c:v>
                </c:pt>
                <c:pt idx="195">
                  <c:v>1545.741083587068</c:v>
                </c:pt>
                <c:pt idx="196">
                  <c:v>1575.5772143764248</c:v>
                </c:pt>
                <c:pt idx="197">
                  <c:v>1605.0308306684822</c:v>
                </c:pt>
                <c:pt idx="198">
                  <c:v>1633.7194179659409</c:v>
                </c:pt>
                <c:pt idx="199">
                  <c:v>1661.6429762688006</c:v>
                </c:pt>
                <c:pt idx="200">
                  <c:v>1691.096592560858</c:v>
                </c:pt>
                <c:pt idx="201">
                  <c:v>1722.0802668421136</c:v>
                </c:pt>
                <c:pt idx="202">
                  <c:v>1754.0202273666171</c:v>
                </c:pt>
                <c:pt idx="203">
                  <c:v>1785.960187891121</c:v>
                </c:pt>
                <c:pt idx="204">
                  <c:v>1817.708891166975</c:v>
                </c:pt>
                <c:pt idx="205">
                  <c:v>1850.0313661887785</c:v>
                </c:pt>
                <c:pt idx="206">
                  <c:v>1883.1188702051809</c:v>
                </c:pt>
                <c:pt idx="207">
                  <c:v>1917.1626604648316</c:v>
                </c:pt>
                <c:pt idx="208">
                  <c:v>1951.9714797190813</c:v>
                </c:pt>
                <c:pt idx="209">
                  <c:v>1987.1628134706305</c:v>
                </c:pt>
                <c:pt idx="210">
                  <c:v>2022.5454044708292</c:v>
                </c:pt>
                <c:pt idx="211">
                  <c:v>2058.6930244656269</c:v>
                </c:pt>
                <c:pt idx="212">
                  <c:v>2095.6056734550239</c:v>
                </c:pt>
                <c:pt idx="213">
                  <c:v>2133.4746086876689</c:v>
                </c:pt>
                <c:pt idx="214">
                  <c:v>2171.9173156662641</c:v>
                </c:pt>
                <c:pt idx="215">
                  <c:v>2210.9337943908072</c:v>
                </c:pt>
                <c:pt idx="216">
                  <c:v>2250.5240448613004</c:v>
                </c:pt>
                <c:pt idx="217">
                  <c:v>2290.8793243263922</c:v>
                </c:pt>
                <c:pt idx="218">
                  <c:v>2331.9996327860827</c:v>
                </c:pt>
                <c:pt idx="219">
                  <c:v>2373.8849702403722</c:v>
                </c:pt>
                <c:pt idx="220">
                  <c:v>2416.344079440611</c:v>
                </c:pt>
                <c:pt idx="221">
                  <c:v>2459.5682176354485</c:v>
                </c:pt>
                <c:pt idx="222">
                  <c:v>2503.55738482488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C61F-4F8C-8040-ED76FB7F1E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4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3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B$244:$B$497</c:f>
              <c:numCache>
                <c:formatCode>0</c:formatCode>
                <c:ptCount val="254"/>
                <c:pt idx="0">
                  <c:v>102</c:v>
                </c:pt>
                <c:pt idx="1">
                  <c:v>16</c:v>
                </c:pt>
                <c:pt idx="2">
                  <c:v>79</c:v>
                </c:pt>
                <c:pt idx="3">
                  <c:v>174</c:v>
                </c:pt>
                <c:pt idx="4">
                  <c:v>154</c:v>
                </c:pt>
                <c:pt idx="5">
                  <c:v>108</c:v>
                </c:pt>
                <c:pt idx="6">
                  <c:v>181</c:v>
                </c:pt>
                <c:pt idx="7">
                  <c:v>42</c:v>
                </c:pt>
                <c:pt idx="8">
                  <c:v>23</c:v>
                </c:pt>
                <c:pt idx="9">
                  <c:v>62</c:v>
                </c:pt>
                <c:pt idx="10">
                  <c:v>118</c:v>
                </c:pt>
                <c:pt idx="11">
                  <c:v>73</c:v>
                </c:pt>
                <c:pt idx="12">
                  <c:v>79</c:v>
                </c:pt>
                <c:pt idx="13">
                  <c:v>75</c:v>
                </c:pt>
                <c:pt idx="14">
                  <c:v>42</c:v>
                </c:pt>
                <c:pt idx="15">
                  <c:v>4</c:v>
                </c:pt>
                <c:pt idx="16">
                  <c:v>47</c:v>
                </c:pt>
                <c:pt idx="17">
                  <c:v>58</c:v>
                </c:pt>
                <c:pt idx="18">
                  <c:v>46</c:v>
                </c:pt>
                <c:pt idx="19">
                  <c:v>45</c:v>
                </c:pt>
                <c:pt idx="20">
                  <c:v>44</c:v>
                </c:pt>
                <c:pt idx="21">
                  <c:v>11</c:v>
                </c:pt>
                <c:pt idx="22">
                  <c:v>5</c:v>
                </c:pt>
                <c:pt idx="23">
                  <c:v>29</c:v>
                </c:pt>
                <c:pt idx="24">
                  <c:v>14</c:v>
                </c:pt>
                <c:pt idx="25">
                  <c:v>48</c:v>
                </c:pt>
                <c:pt idx="26">
                  <c:v>33</c:v>
                </c:pt>
                <c:pt idx="27">
                  <c:v>27</c:v>
                </c:pt>
                <c:pt idx="28">
                  <c:v>5</c:v>
                </c:pt>
                <c:pt idx="29">
                  <c:v>3</c:v>
                </c:pt>
                <c:pt idx="30">
                  <c:v>21</c:v>
                </c:pt>
                <c:pt idx="31">
                  <c:v>14</c:v>
                </c:pt>
                <c:pt idx="32">
                  <c:v>11</c:v>
                </c:pt>
                <c:pt idx="33">
                  <c:v>14</c:v>
                </c:pt>
                <c:pt idx="34">
                  <c:v>14</c:v>
                </c:pt>
                <c:pt idx="35">
                  <c:v>1</c:v>
                </c:pt>
                <c:pt idx="36">
                  <c:v>1</c:v>
                </c:pt>
                <c:pt idx="37">
                  <c:v>17</c:v>
                </c:pt>
                <c:pt idx="38">
                  <c:v>22</c:v>
                </c:pt>
                <c:pt idx="39">
                  <c:v>8</c:v>
                </c:pt>
                <c:pt idx="40">
                  <c:v>14</c:v>
                </c:pt>
                <c:pt idx="41">
                  <c:v>10</c:v>
                </c:pt>
                <c:pt idx="42">
                  <c:v>0</c:v>
                </c:pt>
                <c:pt idx="43">
                  <c:v>0</c:v>
                </c:pt>
                <c:pt idx="44">
                  <c:v>8</c:v>
                </c:pt>
                <c:pt idx="45">
                  <c:v>11</c:v>
                </c:pt>
                <c:pt idx="46">
                  <c:v>6</c:v>
                </c:pt>
                <c:pt idx="47">
                  <c:v>3</c:v>
                </c:pt>
                <c:pt idx="48">
                  <c:v>3</c:v>
                </c:pt>
                <c:pt idx="49">
                  <c:v>7</c:v>
                </c:pt>
                <c:pt idx="50">
                  <c:v>1</c:v>
                </c:pt>
                <c:pt idx="51">
                  <c:v>2</c:v>
                </c:pt>
                <c:pt idx="52">
                  <c:v>5</c:v>
                </c:pt>
                <c:pt idx="53">
                  <c:v>0</c:v>
                </c:pt>
                <c:pt idx="54">
                  <c:v>0</c:v>
                </c:pt>
                <c:pt idx="55">
                  <c:v>3</c:v>
                </c:pt>
                <c:pt idx="56">
                  <c:v>0</c:v>
                </c:pt>
                <c:pt idx="57">
                  <c:v>0</c:v>
                </c:pt>
                <c:pt idx="58">
                  <c:v>3</c:v>
                </c:pt>
                <c:pt idx="59">
                  <c:v>5</c:v>
                </c:pt>
                <c:pt idx="60">
                  <c:v>0</c:v>
                </c:pt>
                <c:pt idx="61">
                  <c:v>3</c:v>
                </c:pt>
                <c:pt idx="62">
                  <c:v>4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19</c:v>
                </c:pt>
                <c:pt idx="68">
                  <c:v>15</c:v>
                </c:pt>
                <c:pt idx="69">
                  <c:v>9</c:v>
                </c:pt>
                <c:pt idx="70">
                  <c:v>8</c:v>
                </c:pt>
                <c:pt idx="71">
                  <c:v>0</c:v>
                </c:pt>
                <c:pt idx="72">
                  <c:v>9</c:v>
                </c:pt>
                <c:pt idx="73">
                  <c:v>12</c:v>
                </c:pt>
                <c:pt idx="74">
                  <c:v>13</c:v>
                </c:pt>
                <c:pt idx="75">
                  <c:v>3</c:v>
                </c:pt>
                <c:pt idx="76">
                  <c:v>5</c:v>
                </c:pt>
                <c:pt idx="77">
                  <c:v>5</c:v>
                </c:pt>
                <c:pt idx="78">
                  <c:v>0</c:v>
                </c:pt>
                <c:pt idx="79">
                  <c:v>1</c:v>
                </c:pt>
                <c:pt idx="80">
                  <c:v>12</c:v>
                </c:pt>
                <c:pt idx="81">
                  <c:v>8</c:v>
                </c:pt>
                <c:pt idx="82">
                  <c:v>3</c:v>
                </c:pt>
                <c:pt idx="83">
                  <c:v>6</c:v>
                </c:pt>
                <c:pt idx="84">
                  <c:v>1</c:v>
                </c:pt>
                <c:pt idx="85">
                  <c:v>1</c:v>
                </c:pt>
                <c:pt idx="86">
                  <c:v>4</c:v>
                </c:pt>
                <c:pt idx="87">
                  <c:v>15</c:v>
                </c:pt>
                <c:pt idx="88">
                  <c:v>4</c:v>
                </c:pt>
                <c:pt idx="89">
                  <c:v>5</c:v>
                </c:pt>
                <c:pt idx="90">
                  <c:v>6</c:v>
                </c:pt>
                <c:pt idx="91">
                  <c:v>6</c:v>
                </c:pt>
                <c:pt idx="92">
                  <c:v>5</c:v>
                </c:pt>
                <c:pt idx="93">
                  <c:v>5</c:v>
                </c:pt>
                <c:pt idx="94">
                  <c:v>13</c:v>
                </c:pt>
                <c:pt idx="95">
                  <c:v>13</c:v>
                </c:pt>
                <c:pt idx="96">
                  <c:v>9</c:v>
                </c:pt>
                <c:pt idx="97">
                  <c:v>9</c:v>
                </c:pt>
                <c:pt idx="98">
                  <c:v>8</c:v>
                </c:pt>
                <c:pt idx="99">
                  <c:v>1</c:v>
                </c:pt>
                <c:pt idx="100">
                  <c:v>11</c:v>
                </c:pt>
                <c:pt idx="101">
                  <c:v>20</c:v>
                </c:pt>
                <c:pt idx="102">
                  <c:v>10</c:v>
                </c:pt>
                <c:pt idx="103">
                  <c:v>7</c:v>
                </c:pt>
                <c:pt idx="104">
                  <c:v>6</c:v>
                </c:pt>
                <c:pt idx="105">
                  <c:v>2</c:v>
                </c:pt>
                <c:pt idx="106">
                  <c:v>2</c:v>
                </c:pt>
                <c:pt idx="107">
                  <c:v>14</c:v>
                </c:pt>
                <c:pt idx="108">
                  <c:v>16</c:v>
                </c:pt>
                <c:pt idx="109">
                  <c:v>9</c:v>
                </c:pt>
                <c:pt idx="110">
                  <c:v>4</c:v>
                </c:pt>
                <c:pt idx="111">
                  <c:v>3</c:v>
                </c:pt>
                <c:pt idx="112">
                  <c:v>5</c:v>
                </c:pt>
                <c:pt idx="113">
                  <c:v>0</c:v>
                </c:pt>
                <c:pt idx="114">
                  <c:v>4</c:v>
                </c:pt>
                <c:pt idx="115">
                  <c:v>10</c:v>
                </c:pt>
                <c:pt idx="116">
                  <c:v>19</c:v>
                </c:pt>
                <c:pt idx="117">
                  <c:v>8</c:v>
                </c:pt>
                <c:pt idx="118">
                  <c:v>7</c:v>
                </c:pt>
                <c:pt idx="119">
                  <c:v>1</c:v>
                </c:pt>
                <c:pt idx="120">
                  <c:v>2</c:v>
                </c:pt>
                <c:pt idx="121">
                  <c:v>3</c:v>
                </c:pt>
                <c:pt idx="122">
                  <c:v>16</c:v>
                </c:pt>
                <c:pt idx="123">
                  <c:v>13</c:v>
                </c:pt>
                <c:pt idx="124">
                  <c:v>9</c:v>
                </c:pt>
                <c:pt idx="125">
                  <c:v>16</c:v>
                </c:pt>
                <c:pt idx="126">
                  <c:v>3</c:v>
                </c:pt>
                <c:pt idx="127">
                  <c:v>4</c:v>
                </c:pt>
                <c:pt idx="128">
                  <c:v>16</c:v>
                </c:pt>
                <c:pt idx="129">
                  <c:v>13</c:v>
                </c:pt>
                <c:pt idx="130">
                  <c:v>32</c:v>
                </c:pt>
                <c:pt idx="131">
                  <c:v>11</c:v>
                </c:pt>
                <c:pt idx="132">
                  <c:v>25</c:v>
                </c:pt>
                <c:pt idx="133">
                  <c:v>8</c:v>
                </c:pt>
                <c:pt idx="134">
                  <c:v>2</c:v>
                </c:pt>
                <c:pt idx="135">
                  <c:v>19</c:v>
                </c:pt>
                <c:pt idx="136">
                  <c:v>12</c:v>
                </c:pt>
                <c:pt idx="137">
                  <c:v>11</c:v>
                </c:pt>
                <c:pt idx="138">
                  <c:v>12</c:v>
                </c:pt>
                <c:pt idx="139">
                  <c:v>18</c:v>
                </c:pt>
                <c:pt idx="140">
                  <c:v>7</c:v>
                </c:pt>
                <c:pt idx="141">
                  <c:v>3</c:v>
                </c:pt>
                <c:pt idx="142">
                  <c:v>8</c:v>
                </c:pt>
                <c:pt idx="143">
                  <c:v>23</c:v>
                </c:pt>
                <c:pt idx="144">
                  <c:v>16</c:v>
                </c:pt>
                <c:pt idx="145">
                  <c:v>8</c:v>
                </c:pt>
                <c:pt idx="146">
                  <c:v>18</c:v>
                </c:pt>
                <c:pt idx="147">
                  <c:v>17</c:v>
                </c:pt>
                <c:pt idx="148">
                  <c:v>9</c:v>
                </c:pt>
                <c:pt idx="149">
                  <c:v>20</c:v>
                </c:pt>
                <c:pt idx="150">
                  <c:v>14</c:v>
                </c:pt>
                <c:pt idx="151">
                  <c:v>13</c:v>
                </c:pt>
                <c:pt idx="152">
                  <c:v>21</c:v>
                </c:pt>
                <c:pt idx="153">
                  <c:v>28</c:v>
                </c:pt>
                <c:pt idx="154">
                  <c:v>12</c:v>
                </c:pt>
                <c:pt idx="155">
                  <c:v>7</c:v>
                </c:pt>
                <c:pt idx="156">
                  <c:v>26</c:v>
                </c:pt>
                <c:pt idx="157">
                  <c:v>32</c:v>
                </c:pt>
                <c:pt idx="158">
                  <c:v>37</c:v>
                </c:pt>
                <c:pt idx="159">
                  <c:v>32</c:v>
                </c:pt>
                <c:pt idx="160">
                  <c:v>31</c:v>
                </c:pt>
                <c:pt idx="161">
                  <c:v>10</c:v>
                </c:pt>
                <c:pt idx="162">
                  <c:v>4</c:v>
                </c:pt>
                <c:pt idx="163">
                  <c:v>32</c:v>
                </c:pt>
                <c:pt idx="164">
                  <c:v>36</c:v>
                </c:pt>
                <c:pt idx="165">
                  <c:v>52</c:v>
                </c:pt>
                <c:pt idx="166">
                  <c:v>41</c:v>
                </c:pt>
                <c:pt idx="167">
                  <c:v>112</c:v>
                </c:pt>
                <c:pt idx="168">
                  <c:v>30</c:v>
                </c:pt>
                <c:pt idx="169">
                  <c:v>12</c:v>
                </c:pt>
                <c:pt idx="170">
                  <c:v>91</c:v>
                </c:pt>
                <c:pt idx="171">
                  <c:v>113</c:v>
                </c:pt>
                <c:pt idx="172">
                  <c:v>113</c:v>
                </c:pt>
                <c:pt idx="173">
                  <c:v>105</c:v>
                </c:pt>
                <c:pt idx="174">
                  <c:v>208</c:v>
                </c:pt>
                <c:pt idx="175">
                  <c:v>102</c:v>
                </c:pt>
                <c:pt idx="176">
                  <c:v>35</c:v>
                </c:pt>
                <c:pt idx="177">
                  <c:v>135</c:v>
                </c:pt>
                <c:pt idx="178">
                  <c:v>316</c:v>
                </c:pt>
                <c:pt idx="179">
                  <c:v>181</c:v>
                </c:pt>
                <c:pt idx="180">
                  <c:v>248</c:v>
                </c:pt>
                <c:pt idx="181">
                  <c:v>197</c:v>
                </c:pt>
                <c:pt idx="182">
                  <c:v>142</c:v>
                </c:pt>
                <c:pt idx="183">
                  <c:v>47</c:v>
                </c:pt>
                <c:pt idx="184">
                  <c:v>228</c:v>
                </c:pt>
                <c:pt idx="185">
                  <c:v>363</c:v>
                </c:pt>
                <c:pt idx="186">
                  <c:v>277</c:v>
                </c:pt>
                <c:pt idx="187">
                  <c:v>287</c:v>
                </c:pt>
                <c:pt idx="188">
                  <c:v>467</c:v>
                </c:pt>
                <c:pt idx="189">
                  <c:v>160</c:v>
                </c:pt>
                <c:pt idx="190">
                  <c:v>72</c:v>
                </c:pt>
                <c:pt idx="191">
                  <c:v>298</c:v>
                </c:pt>
                <c:pt idx="192">
                  <c:v>584</c:v>
                </c:pt>
                <c:pt idx="193">
                  <c:v>414</c:v>
                </c:pt>
                <c:pt idx="194">
                  <c:v>329</c:v>
                </c:pt>
                <c:pt idx="195">
                  <c:v>901</c:v>
                </c:pt>
                <c:pt idx="196">
                  <c:v>195</c:v>
                </c:pt>
                <c:pt idx="197">
                  <c:v>157</c:v>
                </c:pt>
                <c:pt idx="198">
                  <c:v>373</c:v>
                </c:pt>
                <c:pt idx="199">
                  <c:v>980</c:v>
                </c:pt>
                <c:pt idx="200">
                  <c:v>856</c:v>
                </c:pt>
                <c:pt idx="201">
                  <c:v>503</c:v>
                </c:pt>
                <c:pt idx="202">
                  <c:v>971</c:v>
                </c:pt>
                <c:pt idx="203">
                  <c:v>701</c:v>
                </c:pt>
                <c:pt idx="204">
                  <c:v>219</c:v>
                </c:pt>
                <c:pt idx="205">
                  <c:v>457</c:v>
                </c:pt>
                <c:pt idx="206">
                  <c:v>1123</c:v>
                </c:pt>
                <c:pt idx="207">
                  <c:v>1195</c:v>
                </c:pt>
                <c:pt idx="208">
                  <c:v>1104</c:v>
                </c:pt>
                <c:pt idx="209">
                  <c:v>1156</c:v>
                </c:pt>
                <c:pt idx="210">
                  <c:v>511</c:v>
                </c:pt>
                <c:pt idx="211">
                  <c:v>375</c:v>
                </c:pt>
                <c:pt idx="212">
                  <c:v>590</c:v>
                </c:pt>
                <c:pt idx="213">
                  <c:v>1270</c:v>
                </c:pt>
                <c:pt idx="214">
                  <c:v>1280</c:v>
                </c:pt>
                <c:pt idx="215">
                  <c:v>992</c:v>
                </c:pt>
                <c:pt idx="216">
                  <c:v>1348</c:v>
                </c:pt>
                <c:pt idx="217">
                  <c:v>436</c:v>
                </c:pt>
                <c:pt idx="218">
                  <c:v>185</c:v>
                </c:pt>
                <c:pt idx="219">
                  <c:v>550</c:v>
                </c:pt>
                <c:pt idx="220">
                  <c:v>12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E56-48BE-B88E-F8A8C486AC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C$244:$C$497</c:f>
              <c:numCache>
                <c:formatCode>General</c:formatCode>
                <c:ptCount val="25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E56-48BE-B88E-F8A8C486AC3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D$244:$D$497</c:f>
              <c:numCache>
                <c:formatCode>General</c:formatCode>
                <c:ptCount val="254"/>
                <c:pt idx="73">
                  <c:v>0</c:v>
                </c:pt>
                <c:pt idx="216">
                  <c:v>1006</c:v>
                </c:pt>
                <c:pt idx="217">
                  <c:v>977</c:v>
                </c:pt>
                <c:pt idx="218">
                  <c:v>957</c:v>
                </c:pt>
                <c:pt idx="219">
                  <c:v>944</c:v>
                </c:pt>
                <c:pt idx="220">
                  <c:v>931</c:v>
                </c:pt>
                <c:pt idx="221">
                  <c:v>918</c:v>
                </c:pt>
                <c:pt idx="222">
                  <c:v>901</c:v>
                </c:pt>
                <c:pt idx="223">
                  <c:v>879</c:v>
                </c:pt>
                <c:pt idx="224">
                  <c:v>862</c:v>
                </c:pt>
                <c:pt idx="225">
                  <c:v>848</c:v>
                </c:pt>
                <c:pt idx="226">
                  <c:v>836</c:v>
                </c:pt>
                <c:pt idx="227">
                  <c:v>821</c:v>
                </c:pt>
                <c:pt idx="228">
                  <c:v>805</c:v>
                </c:pt>
                <c:pt idx="229">
                  <c:v>789</c:v>
                </c:pt>
                <c:pt idx="230">
                  <c:v>775</c:v>
                </c:pt>
                <c:pt idx="231">
                  <c:v>762</c:v>
                </c:pt>
                <c:pt idx="232">
                  <c:v>749</c:v>
                </c:pt>
                <c:pt idx="233">
                  <c:v>736</c:v>
                </c:pt>
                <c:pt idx="234">
                  <c:v>722</c:v>
                </c:pt>
                <c:pt idx="235">
                  <c:v>709</c:v>
                </c:pt>
                <c:pt idx="236">
                  <c:v>696</c:v>
                </c:pt>
                <c:pt idx="237">
                  <c:v>684</c:v>
                </c:pt>
                <c:pt idx="238">
                  <c:v>672</c:v>
                </c:pt>
                <c:pt idx="239">
                  <c:v>660</c:v>
                </c:pt>
                <c:pt idx="240">
                  <c:v>648</c:v>
                </c:pt>
                <c:pt idx="241">
                  <c:v>636</c:v>
                </c:pt>
                <c:pt idx="242">
                  <c:v>625</c:v>
                </c:pt>
                <c:pt idx="243">
                  <c:v>614</c:v>
                </c:pt>
                <c:pt idx="244">
                  <c:v>603</c:v>
                </c:pt>
                <c:pt idx="245">
                  <c:v>593</c:v>
                </c:pt>
                <c:pt idx="246">
                  <c:v>582</c:v>
                </c:pt>
                <c:pt idx="247">
                  <c:v>572</c:v>
                </c:pt>
                <c:pt idx="248">
                  <c:v>562</c:v>
                </c:pt>
                <c:pt idx="249">
                  <c:v>552</c:v>
                </c:pt>
                <c:pt idx="250">
                  <c:v>542</c:v>
                </c:pt>
                <c:pt idx="251">
                  <c:v>533</c:v>
                </c:pt>
                <c:pt idx="252">
                  <c:v>524</c:v>
                </c:pt>
                <c:pt idx="253">
                  <c:v>5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E56-48BE-B88E-F8A8C486AC3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E$244:$E$497</c:f>
              <c:numCache>
                <c:formatCode>General</c:formatCode>
                <c:ptCount val="254"/>
                <c:pt idx="216">
                  <c:v>1028</c:v>
                </c:pt>
                <c:pt idx="217">
                  <c:v>1012</c:v>
                </c:pt>
                <c:pt idx="218">
                  <c:v>998</c:v>
                </c:pt>
                <c:pt idx="219">
                  <c:v>990</c:v>
                </c:pt>
                <c:pt idx="220">
                  <c:v>984</c:v>
                </c:pt>
                <c:pt idx="221">
                  <c:v>981</c:v>
                </c:pt>
                <c:pt idx="222">
                  <c:v>973</c:v>
                </c:pt>
                <c:pt idx="223">
                  <c:v>961</c:v>
                </c:pt>
                <c:pt idx="224">
                  <c:v>951</c:v>
                </c:pt>
                <c:pt idx="225">
                  <c:v>943</c:v>
                </c:pt>
                <c:pt idx="226">
                  <c:v>937</c:v>
                </c:pt>
                <c:pt idx="227">
                  <c:v>930</c:v>
                </c:pt>
                <c:pt idx="228">
                  <c:v>922</c:v>
                </c:pt>
                <c:pt idx="229">
                  <c:v>913</c:v>
                </c:pt>
                <c:pt idx="230">
                  <c:v>905</c:v>
                </c:pt>
                <c:pt idx="231">
                  <c:v>897</c:v>
                </c:pt>
                <c:pt idx="232">
                  <c:v>891</c:v>
                </c:pt>
                <c:pt idx="233">
                  <c:v>884</c:v>
                </c:pt>
                <c:pt idx="234">
                  <c:v>876</c:v>
                </c:pt>
                <c:pt idx="235">
                  <c:v>868</c:v>
                </c:pt>
                <c:pt idx="236">
                  <c:v>861</c:v>
                </c:pt>
                <c:pt idx="237">
                  <c:v>854</c:v>
                </c:pt>
                <c:pt idx="238">
                  <c:v>847</c:v>
                </c:pt>
                <c:pt idx="239">
                  <c:v>840</c:v>
                </c:pt>
                <c:pt idx="240">
                  <c:v>833</c:v>
                </c:pt>
                <c:pt idx="241">
                  <c:v>825</c:v>
                </c:pt>
                <c:pt idx="242">
                  <c:v>818</c:v>
                </c:pt>
                <c:pt idx="243">
                  <c:v>812</c:v>
                </c:pt>
                <c:pt idx="244">
                  <c:v>805</c:v>
                </c:pt>
                <c:pt idx="245">
                  <c:v>798</c:v>
                </c:pt>
                <c:pt idx="246">
                  <c:v>792</c:v>
                </c:pt>
                <c:pt idx="247">
                  <c:v>785</c:v>
                </c:pt>
                <c:pt idx="248">
                  <c:v>779</c:v>
                </c:pt>
                <c:pt idx="249">
                  <c:v>772</c:v>
                </c:pt>
                <c:pt idx="250">
                  <c:v>766</c:v>
                </c:pt>
                <c:pt idx="251">
                  <c:v>759</c:v>
                </c:pt>
                <c:pt idx="252">
                  <c:v>753</c:v>
                </c:pt>
                <c:pt idx="253">
                  <c:v>7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E56-48BE-B88E-F8A8C486AC3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F$244:$F$497</c:f>
              <c:numCache>
                <c:formatCode>General</c:formatCode>
                <c:ptCount val="254"/>
                <c:pt idx="216">
                  <c:v>1073</c:v>
                </c:pt>
                <c:pt idx="217">
                  <c:v>1082</c:v>
                </c:pt>
                <c:pt idx="218">
                  <c:v>1082</c:v>
                </c:pt>
                <c:pt idx="219">
                  <c:v>1082</c:v>
                </c:pt>
                <c:pt idx="220">
                  <c:v>1092</c:v>
                </c:pt>
                <c:pt idx="221">
                  <c:v>1109</c:v>
                </c:pt>
                <c:pt idx="222">
                  <c:v>1125</c:v>
                </c:pt>
                <c:pt idx="223">
                  <c:v>1137</c:v>
                </c:pt>
                <c:pt idx="224">
                  <c:v>1142</c:v>
                </c:pt>
                <c:pt idx="225">
                  <c:v>1150</c:v>
                </c:pt>
                <c:pt idx="226">
                  <c:v>1161</c:v>
                </c:pt>
                <c:pt idx="227">
                  <c:v>1176</c:v>
                </c:pt>
                <c:pt idx="228">
                  <c:v>1189</c:v>
                </c:pt>
                <c:pt idx="229">
                  <c:v>1200</c:v>
                </c:pt>
                <c:pt idx="230">
                  <c:v>1209</c:v>
                </c:pt>
                <c:pt idx="231">
                  <c:v>1219</c:v>
                </c:pt>
                <c:pt idx="232">
                  <c:v>1231</c:v>
                </c:pt>
                <c:pt idx="233">
                  <c:v>1244</c:v>
                </c:pt>
                <c:pt idx="234">
                  <c:v>1257</c:v>
                </c:pt>
                <c:pt idx="235">
                  <c:v>1268</c:v>
                </c:pt>
                <c:pt idx="236">
                  <c:v>1280</c:v>
                </c:pt>
                <c:pt idx="237">
                  <c:v>1291</c:v>
                </c:pt>
                <c:pt idx="238">
                  <c:v>1304</c:v>
                </c:pt>
                <c:pt idx="239">
                  <c:v>1317</c:v>
                </c:pt>
                <c:pt idx="240">
                  <c:v>1330</c:v>
                </c:pt>
                <c:pt idx="241">
                  <c:v>1342</c:v>
                </c:pt>
                <c:pt idx="242">
                  <c:v>1354</c:v>
                </c:pt>
                <c:pt idx="243">
                  <c:v>1367</c:v>
                </c:pt>
                <c:pt idx="244">
                  <c:v>1380</c:v>
                </c:pt>
                <c:pt idx="245">
                  <c:v>1393</c:v>
                </c:pt>
                <c:pt idx="246">
                  <c:v>1407</c:v>
                </c:pt>
                <c:pt idx="247">
                  <c:v>1420</c:v>
                </c:pt>
                <c:pt idx="248">
                  <c:v>1433</c:v>
                </c:pt>
                <c:pt idx="249">
                  <c:v>1447</c:v>
                </c:pt>
                <c:pt idx="250">
                  <c:v>1460</c:v>
                </c:pt>
                <c:pt idx="251">
                  <c:v>1474</c:v>
                </c:pt>
                <c:pt idx="252">
                  <c:v>1488</c:v>
                </c:pt>
                <c:pt idx="253">
                  <c:v>15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E56-48BE-B88E-F8A8C486AC37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G$244:$G$497</c:f>
              <c:numCache>
                <c:formatCode>General</c:formatCode>
                <c:ptCount val="254"/>
                <c:pt idx="216">
                  <c:v>1096</c:v>
                </c:pt>
                <c:pt idx="217">
                  <c:v>1117</c:v>
                </c:pt>
                <c:pt idx="218">
                  <c:v>1124</c:v>
                </c:pt>
                <c:pt idx="219">
                  <c:v>1128</c:v>
                </c:pt>
                <c:pt idx="220">
                  <c:v>1147</c:v>
                </c:pt>
                <c:pt idx="221">
                  <c:v>1176</c:v>
                </c:pt>
                <c:pt idx="222">
                  <c:v>1204</c:v>
                </c:pt>
                <c:pt idx="223">
                  <c:v>1230</c:v>
                </c:pt>
                <c:pt idx="224">
                  <c:v>1245</c:v>
                </c:pt>
                <c:pt idx="225">
                  <c:v>1262</c:v>
                </c:pt>
                <c:pt idx="226">
                  <c:v>1284</c:v>
                </c:pt>
                <c:pt idx="227">
                  <c:v>1312</c:v>
                </c:pt>
                <c:pt idx="228">
                  <c:v>1339</c:v>
                </c:pt>
                <c:pt idx="229">
                  <c:v>1363</c:v>
                </c:pt>
                <c:pt idx="230">
                  <c:v>1385</c:v>
                </c:pt>
                <c:pt idx="231">
                  <c:v>1407</c:v>
                </c:pt>
                <c:pt idx="232">
                  <c:v>1433</c:v>
                </c:pt>
                <c:pt idx="233">
                  <c:v>1461</c:v>
                </c:pt>
                <c:pt idx="234">
                  <c:v>1489</c:v>
                </c:pt>
                <c:pt idx="235">
                  <c:v>1515</c:v>
                </c:pt>
                <c:pt idx="236">
                  <c:v>1541</c:v>
                </c:pt>
                <c:pt idx="237">
                  <c:v>1568</c:v>
                </c:pt>
                <c:pt idx="238">
                  <c:v>1597</c:v>
                </c:pt>
                <c:pt idx="239">
                  <c:v>1626</c:v>
                </c:pt>
                <c:pt idx="240">
                  <c:v>1656</c:v>
                </c:pt>
                <c:pt idx="241">
                  <c:v>1685</c:v>
                </c:pt>
                <c:pt idx="242">
                  <c:v>1715</c:v>
                </c:pt>
                <c:pt idx="243">
                  <c:v>1745</c:v>
                </c:pt>
                <c:pt idx="244">
                  <c:v>1777</c:v>
                </c:pt>
                <c:pt idx="245">
                  <c:v>1809</c:v>
                </c:pt>
                <c:pt idx="246">
                  <c:v>1842</c:v>
                </c:pt>
                <c:pt idx="247">
                  <c:v>1874</c:v>
                </c:pt>
                <c:pt idx="248">
                  <c:v>1908</c:v>
                </c:pt>
                <c:pt idx="249">
                  <c:v>1942</c:v>
                </c:pt>
                <c:pt idx="250">
                  <c:v>1977</c:v>
                </c:pt>
                <c:pt idx="251">
                  <c:v>2012</c:v>
                </c:pt>
                <c:pt idx="252">
                  <c:v>2048</c:v>
                </c:pt>
                <c:pt idx="253">
                  <c:v>20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E56-48BE-B88E-F8A8C486AC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H$122:$H$344</c:f>
              <c:numCache>
                <c:formatCode>0</c:formatCode>
                <c:ptCount val="22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  <c:pt idx="188" formatCode="General">
                  <c:v>100</c:v>
                </c:pt>
                <c:pt idx="189" formatCode="General">
                  <c:v>100</c:v>
                </c:pt>
                <c:pt idx="190" formatCode="General">
                  <c:v>100</c:v>
                </c:pt>
                <c:pt idx="191" formatCode="General">
                  <c:v>100</c:v>
                </c:pt>
                <c:pt idx="192" formatCode="General">
                  <c:v>100</c:v>
                </c:pt>
                <c:pt idx="193" formatCode="General">
                  <c:v>100</c:v>
                </c:pt>
                <c:pt idx="194" formatCode="General">
                  <c:v>100</c:v>
                </c:pt>
                <c:pt idx="195" formatCode="General">
                  <c:v>100</c:v>
                </c:pt>
                <c:pt idx="196" formatCode="General">
                  <c:v>100</c:v>
                </c:pt>
                <c:pt idx="197" formatCode="General">
                  <c:v>100</c:v>
                </c:pt>
                <c:pt idx="198" formatCode="General">
                  <c:v>100</c:v>
                </c:pt>
                <c:pt idx="199" formatCode="General">
                  <c:v>100</c:v>
                </c:pt>
                <c:pt idx="200" formatCode="General">
                  <c:v>100</c:v>
                </c:pt>
                <c:pt idx="201" formatCode="General">
                  <c:v>100</c:v>
                </c:pt>
                <c:pt idx="202" formatCode="General">
                  <c:v>100</c:v>
                </c:pt>
                <c:pt idx="203" formatCode="General">
                  <c:v>100</c:v>
                </c:pt>
                <c:pt idx="204" formatCode="General">
                  <c:v>100</c:v>
                </c:pt>
                <c:pt idx="205" formatCode="General">
                  <c:v>100</c:v>
                </c:pt>
                <c:pt idx="206" formatCode="General">
                  <c:v>100</c:v>
                </c:pt>
                <c:pt idx="207" formatCode="General">
                  <c:v>100</c:v>
                </c:pt>
                <c:pt idx="208" formatCode="General">
                  <c:v>100</c:v>
                </c:pt>
                <c:pt idx="209" formatCode="General">
                  <c:v>100</c:v>
                </c:pt>
                <c:pt idx="210" formatCode="General">
                  <c:v>100</c:v>
                </c:pt>
                <c:pt idx="211" formatCode="General">
                  <c:v>100</c:v>
                </c:pt>
                <c:pt idx="212" formatCode="General">
                  <c:v>100</c:v>
                </c:pt>
                <c:pt idx="213" formatCode="General">
                  <c:v>100</c:v>
                </c:pt>
                <c:pt idx="214" formatCode="General">
                  <c:v>100</c:v>
                </c:pt>
                <c:pt idx="215" formatCode="General">
                  <c:v>100</c:v>
                </c:pt>
                <c:pt idx="216" formatCode="General">
                  <c:v>100</c:v>
                </c:pt>
                <c:pt idx="217" formatCode="General">
                  <c:v>100</c:v>
                </c:pt>
                <c:pt idx="218" formatCode="General">
                  <c:v>100</c:v>
                </c:pt>
                <c:pt idx="219" formatCode="General">
                  <c:v>100</c:v>
                </c:pt>
                <c:pt idx="220" formatCode="General">
                  <c:v>100</c:v>
                </c:pt>
                <c:pt idx="221" formatCode="General">
                  <c:v>100</c:v>
                </c:pt>
                <c:pt idx="222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6E-4170-BCEC-F1AE53DCC955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I$122:$I$344</c:f>
              <c:numCache>
                <c:formatCode>0</c:formatCode>
                <c:ptCount val="22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  <c:pt idx="188" formatCode="General">
                  <c:v>50</c:v>
                </c:pt>
                <c:pt idx="189" formatCode="General">
                  <c:v>50</c:v>
                </c:pt>
                <c:pt idx="190" formatCode="General">
                  <c:v>50</c:v>
                </c:pt>
                <c:pt idx="191" formatCode="General">
                  <c:v>50</c:v>
                </c:pt>
                <c:pt idx="192" formatCode="General">
                  <c:v>50</c:v>
                </c:pt>
                <c:pt idx="193" formatCode="General">
                  <c:v>50</c:v>
                </c:pt>
                <c:pt idx="194" formatCode="General">
                  <c:v>50</c:v>
                </c:pt>
                <c:pt idx="195" formatCode="General">
                  <c:v>50</c:v>
                </c:pt>
                <c:pt idx="196" formatCode="General">
                  <c:v>50</c:v>
                </c:pt>
                <c:pt idx="197" formatCode="General">
                  <c:v>50</c:v>
                </c:pt>
                <c:pt idx="198" formatCode="General">
                  <c:v>50</c:v>
                </c:pt>
                <c:pt idx="199" formatCode="General">
                  <c:v>50</c:v>
                </c:pt>
                <c:pt idx="200" formatCode="General">
                  <c:v>50</c:v>
                </c:pt>
                <c:pt idx="201" formatCode="General">
                  <c:v>50</c:v>
                </c:pt>
                <c:pt idx="202" formatCode="General">
                  <c:v>50</c:v>
                </c:pt>
                <c:pt idx="203" formatCode="General">
                  <c:v>50</c:v>
                </c:pt>
                <c:pt idx="204" formatCode="General">
                  <c:v>50</c:v>
                </c:pt>
                <c:pt idx="205" formatCode="General">
                  <c:v>50</c:v>
                </c:pt>
                <c:pt idx="206" formatCode="General">
                  <c:v>50</c:v>
                </c:pt>
                <c:pt idx="207" formatCode="General">
                  <c:v>50</c:v>
                </c:pt>
                <c:pt idx="208" formatCode="General">
                  <c:v>50</c:v>
                </c:pt>
                <c:pt idx="209" formatCode="General">
                  <c:v>50</c:v>
                </c:pt>
                <c:pt idx="210" formatCode="General">
                  <c:v>50</c:v>
                </c:pt>
                <c:pt idx="211" formatCode="General">
                  <c:v>50</c:v>
                </c:pt>
                <c:pt idx="212" formatCode="General">
                  <c:v>50</c:v>
                </c:pt>
                <c:pt idx="213" formatCode="General">
                  <c:v>50</c:v>
                </c:pt>
                <c:pt idx="214" formatCode="General">
                  <c:v>50</c:v>
                </c:pt>
                <c:pt idx="215" formatCode="General">
                  <c:v>50</c:v>
                </c:pt>
                <c:pt idx="216" formatCode="General">
                  <c:v>50</c:v>
                </c:pt>
                <c:pt idx="217" formatCode="General">
                  <c:v>50</c:v>
                </c:pt>
                <c:pt idx="218" formatCode="General">
                  <c:v>50</c:v>
                </c:pt>
                <c:pt idx="219" formatCode="General">
                  <c:v>50</c:v>
                </c:pt>
                <c:pt idx="220" formatCode="General">
                  <c:v>50</c:v>
                </c:pt>
                <c:pt idx="221" formatCode="General">
                  <c:v>50</c:v>
                </c:pt>
                <c:pt idx="222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A6E-4170-BCEC-F1AE53DCC9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B$122:$B$344</c:f>
              <c:numCache>
                <c:formatCode>0</c:formatCode>
                <c:ptCount val="223"/>
                <c:pt idx="0">
                  <c:v>29.674640170422833</c:v>
                </c:pt>
                <c:pt idx="1">
                  <c:v>22.403370724690085</c:v>
                </c:pt>
                <c:pt idx="2">
                  <c:v>18.669475603908406</c:v>
                </c:pt>
                <c:pt idx="3">
                  <c:v>16.114705258110412</c:v>
                </c:pt>
                <c:pt idx="4">
                  <c:v>15.328622074787955</c:v>
                </c:pt>
                <c:pt idx="5">
                  <c:v>14.935580483126724</c:v>
                </c:pt>
                <c:pt idx="6">
                  <c:v>14.149497299804267</c:v>
                </c:pt>
                <c:pt idx="7">
                  <c:v>15.721663666449183</c:v>
                </c:pt>
                <c:pt idx="8">
                  <c:v>15.132101278957338</c:v>
                </c:pt>
                <c:pt idx="9">
                  <c:v>15.132101278957338</c:v>
                </c:pt>
                <c:pt idx="10">
                  <c:v>14.346018095634879</c:v>
                </c:pt>
                <c:pt idx="11">
                  <c:v>14.149497299804267</c:v>
                </c:pt>
                <c:pt idx="12">
                  <c:v>13.95297650397365</c:v>
                </c:pt>
                <c:pt idx="13">
                  <c:v>12.184289341498117</c:v>
                </c:pt>
                <c:pt idx="14">
                  <c:v>10.022560587361355</c:v>
                </c:pt>
                <c:pt idx="15">
                  <c:v>9.6295189957001242</c:v>
                </c:pt>
                <c:pt idx="16">
                  <c:v>7.4677902415633621</c:v>
                </c:pt>
                <c:pt idx="17">
                  <c:v>6.0921446707490583</c:v>
                </c:pt>
                <c:pt idx="18">
                  <c:v>7.4677902415633621</c:v>
                </c:pt>
                <c:pt idx="19">
                  <c:v>7.6643110373939773</c:v>
                </c:pt>
                <c:pt idx="20">
                  <c:v>6.4851862624102878</c:v>
                </c:pt>
                <c:pt idx="21">
                  <c:v>5.3060614874265992</c:v>
                </c:pt>
                <c:pt idx="22">
                  <c:v>4.1269367124429106</c:v>
                </c:pt>
                <c:pt idx="23">
                  <c:v>3.5373743249510667</c:v>
                </c:pt>
                <c:pt idx="24">
                  <c:v>3.5373743249510667</c:v>
                </c:pt>
                <c:pt idx="25">
                  <c:v>2.1617287541367629</c:v>
                </c:pt>
                <c:pt idx="26">
                  <c:v>1.9652079583061479</c:v>
                </c:pt>
                <c:pt idx="27">
                  <c:v>2.1617287541367629</c:v>
                </c:pt>
                <c:pt idx="28">
                  <c:v>2.1617287541367629</c:v>
                </c:pt>
                <c:pt idx="29">
                  <c:v>2.1617287541367629</c:v>
                </c:pt>
                <c:pt idx="30">
                  <c:v>2.7512911416286072</c:v>
                </c:pt>
                <c:pt idx="31">
                  <c:v>2.947811937459222</c:v>
                </c:pt>
                <c:pt idx="32">
                  <c:v>3.3408535291204511</c:v>
                </c:pt>
                <c:pt idx="33">
                  <c:v>3.7338951207816811</c:v>
                </c:pt>
                <c:pt idx="34">
                  <c:v>3.5373743249510667</c:v>
                </c:pt>
                <c:pt idx="35">
                  <c:v>3.1443327332898368</c:v>
                </c:pt>
                <c:pt idx="36">
                  <c:v>6.8782278540715183</c:v>
                </c:pt>
                <c:pt idx="37">
                  <c:v>9.2364774040388955</c:v>
                </c:pt>
                <c:pt idx="38">
                  <c:v>10.21908138319197</c:v>
                </c:pt>
                <c:pt idx="39">
                  <c:v>11.398206158175659</c:v>
                </c:pt>
                <c:pt idx="40">
                  <c:v>11.005164566514429</c:v>
                </c:pt>
                <c:pt idx="41">
                  <c:v>12.380810137328734</c:v>
                </c:pt>
                <c:pt idx="42">
                  <c:v>14.149497299804267</c:v>
                </c:pt>
                <c:pt idx="43">
                  <c:v>12.970372524820576</c:v>
                </c:pt>
                <c:pt idx="44">
                  <c:v>10.612122974853198</c:v>
                </c:pt>
                <c:pt idx="45">
                  <c:v>9.8260397915307394</c:v>
                </c:pt>
                <c:pt idx="46">
                  <c:v>9.2364774040388955</c:v>
                </c:pt>
                <c:pt idx="47">
                  <c:v>9.2364774040388955</c:v>
                </c:pt>
                <c:pt idx="48">
                  <c:v>7.6643110373939773</c:v>
                </c:pt>
                <c:pt idx="49">
                  <c:v>7.6643110373939773</c:v>
                </c:pt>
                <c:pt idx="50">
                  <c:v>6.6817070582409022</c:v>
                </c:pt>
                <c:pt idx="51">
                  <c:v>6.6817070582409022</c:v>
                </c:pt>
                <c:pt idx="52">
                  <c:v>6.8782278540715183</c:v>
                </c:pt>
                <c:pt idx="53">
                  <c:v>6.0921446707490583</c:v>
                </c:pt>
                <c:pt idx="54">
                  <c:v>6.2886654665796735</c:v>
                </c:pt>
                <c:pt idx="55">
                  <c:v>6.8782278540715183</c:v>
                </c:pt>
                <c:pt idx="56">
                  <c:v>7.4677902415633621</c:v>
                </c:pt>
                <c:pt idx="57">
                  <c:v>6.6817070582409022</c:v>
                </c:pt>
                <c:pt idx="58">
                  <c:v>7.0747486499021335</c:v>
                </c:pt>
                <c:pt idx="59">
                  <c:v>7.0747486499021335</c:v>
                </c:pt>
                <c:pt idx="60">
                  <c:v>8.057352629055206</c:v>
                </c:pt>
                <c:pt idx="61">
                  <c:v>8.8434358123776668</c:v>
                </c:pt>
                <c:pt idx="62">
                  <c:v>9.0399566082082803</c:v>
                </c:pt>
                <c:pt idx="63">
                  <c:v>8.6469150165470516</c:v>
                </c:pt>
                <c:pt idx="64">
                  <c:v>10.415602179022585</c:v>
                </c:pt>
                <c:pt idx="65">
                  <c:v>11.201685362345042</c:v>
                </c:pt>
                <c:pt idx="66">
                  <c:v>11.791247749836888</c:v>
                </c:pt>
                <c:pt idx="67">
                  <c:v>12.184289341498117</c:v>
                </c:pt>
                <c:pt idx="68">
                  <c:v>11.398206158175659</c:v>
                </c:pt>
                <c:pt idx="69">
                  <c:v>12.577330933159347</c:v>
                </c:pt>
                <c:pt idx="70">
                  <c:v>13.95297650397365</c:v>
                </c:pt>
                <c:pt idx="71">
                  <c:v>13.363414116481804</c:v>
                </c:pt>
                <c:pt idx="72">
                  <c:v>12.970372524820576</c:v>
                </c:pt>
                <c:pt idx="73">
                  <c:v>12.380810137328734</c:v>
                </c:pt>
                <c:pt idx="74">
                  <c:v>11.201685362345042</c:v>
                </c:pt>
                <c:pt idx="75">
                  <c:v>11.398206158175659</c:v>
                </c:pt>
                <c:pt idx="76">
                  <c:v>11.987768545667503</c:v>
                </c:pt>
                <c:pt idx="77">
                  <c:v>11.201685362345042</c:v>
                </c:pt>
                <c:pt idx="78">
                  <c:v>11.005164566514429</c:v>
                </c:pt>
                <c:pt idx="79">
                  <c:v>10.415602179022585</c:v>
                </c:pt>
                <c:pt idx="80">
                  <c:v>9.8260397915307394</c:v>
                </c:pt>
                <c:pt idx="81">
                  <c:v>10.415602179022585</c:v>
                </c:pt>
                <c:pt idx="82">
                  <c:v>10.022560587361355</c:v>
                </c:pt>
                <c:pt idx="83">
                  <c:v>8.057352629055206</c:v>
                </c:pt>
                <c:pt idx="84">
                  <c:v>6.8782278540715183</c:v>
                </c:pt>
                <c:pt idx="85">
                  <c:v>8.8434358123776668</c:v>
                </c:pt>
                <c:pt idx="86">
                  <c:v>9.6295189957001242</c:v>
                </c:pt>
                <c:pt idx="87">
                  <c:v>10.415602179022585</c:v>
                </c:pt>
                <c:pt idx="88">
                  <c:v>9.6295189957001242</c:v>
                </c:pt>
                <c:pt idx="89">
                  <c:v>10.022560587361355</c:v>
                </c:pt>
                <c:pt idx="90">
                  <c:v>9.8260397915307394</c:v>
                </c:pt>
                <c:pt idx="91">
                  <c:v>11.005164566514429</c:v>
                </c:pt>
                <c:pt idx="92">
                  <c:v>9.8260397915307394</c:v>
                </c:pt>
                <c:pt idx="93">
                  <c:v>10.022560587361355</c:v>
                </c:pt>
                <c:pt idx="94">
                  <c:v>11.791247749836888</c:v>
                </c:pt>
                <c:pt idx="95">
                  <c:v>12.184289341498117</c:v>
                </c:pt>
                <c:pt idx="96">
                  <c:v>12.577330933159347</c:v>
                </c:pt>
                <c:pt idx="97">
                  <c:v>15.132101278957338</c:v>
                </c:pt>
                <c:pt idx="98">
                  <c:v>14.542538891465496</c:v>
                </c:pt>
                <c:pt idx="99">
                  <c:v>18.276434012247176</c:v>
                </c:pt>
                <c:pt idx="100">
                  <c:v>18.669475603908406</c:v>
                </c:pt>
                <c:pt idx="101">
                  <c:v>20.43816276638394</c:v>
                </c:pt>
                <c:pt idx="102">
                  <c:v>21.420766745537016</c:v>
                </c:pt>
                <c:pt idx="103">
                  <c:v>21.027725153875782</c:v>
                </c:pt>
                <c:pt idx="104">
                  <c:v>21.617287541367627</c:v>
                </c:pt>
                <c:pt idx="105">
                  <c:v>21.420766745537016</c:v>
                </c:pt>
                <c:pt idx="106">
                  <c:v>17.293830033094103</c:v>
                </c:pt>
                <c:pt idx="107">
                  <c:v>17.490350828924715</c:v>
                </c:pt>
                <c:pt idx="108">
                  <c:v>16.114705258110412</c:v>
                </c:pt>
                <c:pt idx="109">
                  <c:v>15.918184462279799</c:v>
                </c:pt>
                <c:pt idx="110">
                  <c:v>16.114705258110412</c:v>
                </c:pt>
                <c:pt idx="111">
                  <c:v>13.95297650397365</c:v>
                </c:pt>
                <c:pt idx="112">
                  <c:v>16.114705258110412</c:v>
                </c:pt>
                <c:pt idx="113">
                  <c:v>17.097309237263488</c:v>
                </c:pt>
                <c:pt idx="114">
                  <c:v>16.311226053941027</c:v>
                </c:pt>
                <c:pt idx="115">
                  <c:v>16.311226053941027</c:v>
                </c:pt>
                <c:pt idx="116">
                  <c:v>18.276434012247176</c:v>
                </c:pt>
                <c:pt idx="117">
                  <c:v>19.455558787230864</c:v>
                </c:pt>
                <c:pt idx="118">
                  <c:v>21.813808337198243</c:v>
                </c:pt>
                <c:pt idx="119">
                  <c:v>20.045121174722709</c:v>
                </c:pt>
                <c:pt idx="120">
                  <c:v>19.455558787230864</c:v>
                </c:pt>
                <c:pt idx="121">
                  <c:v>22.010329133028858</c:v>
                </c:pt>
                <c:pt idx="122">
                  <c:v>23.975537091335006</c:v>
                </c:pt>
                <c:pt idx="123">
                  <c:v>22.99293311218193</c:v>
                </c:pt>
                <c:pt idx="124">
                  <c:v>22.599891520520703</c:v>
                </c:pt>
                <c:pt idx="125">
                  <c:v>23.779016295504391</c:v>
                </c:pt>
                <c:pt idx="126">
                  <c:v>27.316390620455458</c:v>
                </c:pt>
                <c:pt idx="127">
                  <c:v>32.032889720390216</c:v>
                </c:pt>
                <c:pt idx="128">
                  <c:v>34.194618474526976</c:v>
                </c:pt>
                <c:pt idx="129">
                  <c:v>34.784180862018815</c:v>
                </c:pt>
                <c:pt idx="130">
                  <c:v>34.391139270357591</c:v>
                </c:pt>
                <c:pt idx="131">
                  <c:v>33.801576882865746</c:v>
                </c:pt>
                <c:pt idx="132">
                  <c:v>34.98070165784943</c:v>
                </c:pt>
                <c:pt idx="133">
                  <c:v>35.766784841171891</c:v>
                </c:pt>
                <c:pt idx="134">
                  <c:v>38.714596778631112</c:v>
                </c:pt>
                <c:pt idx="135">
                  <c:v>40.483283941106649</c:v>
                </c:pt>
                <c:pt idx="136">
                  <c:v>56.401468403386446</c:v>
                </c:pt>
                <c:pt idx="137">
                  <c:v>60.331884319998743</c:v>
                </c:pt>
                <c:pt idx="138">
                  <c:v>61.904050686643657</c:v>
                </c:pt>
                <c:pt idx="139">
                  <c:v>73.498777640649934</c:v>
                </c:pt>
                <c:pt idx="140">
                  <c:v>88.630878919607269</c:v>
                </c:pt>
                <c:pt idx="141">
                  <c:v>100.61864746527478</c:v>
                </c:pt>
                <c:pt idx="142">
                  <c:v>113.19597839843414</c:v>
                </c:pt>
                <c:pt idx="143">
                  <c:v>132.06197479817314</c:v>
                </c:pt>
                <c:pt idx="144">
                  <c:v>146.21147209797741</c:v>
                </c:pt>
                <c:pt idx="145">
                  <c:v>150.73145040208155</c:v>
                </c:pt>
                <c:pt idx="146">
                  <c:v>159.37836541862859</c:v>
                </c:pt>
                <c:pt idx="147">
                  <c:v>199.27208697224341</c:v>
                </c:pt>
                <c:pt idx="148">
                  <c:v>212.63550108872519</c:v>
                </c:pt>
                <c:pt idx="149">
                  <c:v>240.73797489250313</c:v>
                </c:pt>
                <c:pt idx="150">
                  <c:v>238.57624613836634</c:v>
                </c:pt>
                <c:pt idx="151">
                  <c:v>246.43707797159095</c:v>
                </c:pt>
                <c:pt idx="152">
                  <c:v>248.79532752155831</c:v>
                </c:pt>
                <c:pt idx="153">
                  <c:v>267.0717615338055</c:v>
                </c:pt>
                <c:pt idx="154">
                  <c:v>276.30823893784441</c:v>
                </c:pt>
                <c:pt idx="155">
                  <c:v>295.17423533758341</c:v>
                </c:pt>
                <c:pt idx="156">
                  <c:v>302.8385463749774</c:v>
                </c:pt>
                <c:pt idx="157">
                  <c:v>355.89916124924338</c:v>
                </c:pt>
                <c:pt idx="158">
                  <c:v>359.43653557419447</c:v>
                </c:pt>
                <c:pt idx="159">
                  <c:v>364.34955546995985</c:v>
                </c:pt>
                <c:pt idx="160">
                  <c:v>378.10601117810285</c:v>
                </c:pt>
                <c:pt idx="161">
                  <c:v>421.53710705666879</c:v>
                </c:pt>
                <c:pt idx="162">
                  <c:v>448.46045608546297</c:v>
                </c:pt>
                <c:pt idx="163">
                  <c:v>456.71432951034876</c:v>
                </c:pt>
                <c:pt idx="164">
                  <c:v>542.00435490083566</c:v>
                </c:pt>
                <c:pt idx="165">
                  <c:v>548.88258275490716</c:v>
                </c:pt>
                <c:pt idx="166">
                  <c:v>565.58685040050932</c:v>
                </c:pt>
                <c:pt idx="167">
                  <c:v>580.32591008780548</c:v>
                </c:pt>
                <c:pt idx="168">
                  <c:v>658.14814523672896</c:v>
                </c:pt>
                <c:pt idx="169">
                  <c:v>745.01033699386073</c:v>
                </c:pt>
                <c:pt idx="170">
                  <c:v>779.20495546838765</c:v>
                </c:pt>
                <c:pt idx="171">
                  <c:v>792.96141117653065</c:v>
                </c:pt>
                <c:pt idx="172">
                  <c:v>892.4009338668219</c:v>
                </c:pt>
                <c:pt idx="173">
                  <c:v>904.5852232083198</c:v>
                </c:pt>
                <c:pt idx="174">
                  <c:v>921.09297005809162</c:v>
                </c:pt>
                <c:pt idx="175">
                  <c:v>949.19544386186942</c:v>
                </c:pt>
                <c:pt idx="176">
                  <c:v>1015.8159936484478</c:v>
                </c:pt>
                <c:pt idx="177">
                  <c:v>1133.9249919426472</c:v>
                </c:pt>
                <c:pt idx="178">
                  <c:v>1170.2813391713112</c:v>
                </c:pt>
                <c:pt idx="179">
                  <c:v>1132.9423879634942</c:v>
                </c:pt>
                <c:pt idx="180">
                  <c:v>1163.5996321130704</c:v>
                </c:pt>
                <c:pt idx="181">
                  <c:v>1189.7368979585419</c:v>
                </c:pt>
                <c:pt idx="182">
                  <c:v>1218.6254549456423</c:v>
                </c:pt>
                <c:pt idx="183">
                  <c:v>1235.3297225912445</c:v>
                </c:pt>
                <c:pt idx="184">
                  <c:v>1213.3193934582157</c:v>
                </c:pt>
                <c:pt idx="185">
                  <c:v>1251.0513862576938</c:v>
                </c:pt>
                <c:pt idx="186">
                  <c:v>1236.3123265703975</c:v>
                </c:pt>
                <c:pt idx="187">
                  <c:v>1198.9733753625808</c:v>
                </c:pt>
                <c:pt idx="188">
                  <c:v>1191.1125435293563</c:v>
                </c:pt>
                <c:pt idx="189">
                  <c:v>1196.02556342512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A6E-4170-BCEC-F1AE53DCC9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C$122:$C$344</c:f>
              <c:numCache>
                <c:formatCode>General</c:formatCode>
                <c:ptCount val="22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6E-4170-BCEC-F1AE53DCC95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D$122:$D$344</c:f>
              <c:numCache>
                <c:formatCode>General</c:formatCode>
                <c:ptCount val="223"/>
                <c:pt idx="185" formatCode="0">
                  <c:v>1244.7627207911141</c:v>
                </c:pt>
                <c:pt idx="186" formatCode="0">
                  <c:v>1229.2375779204956</c:v>
                </c:pt>
                <c:pt idx="187" formatCode="0">
                  <c:v>1211.157664704079</c:v>
                </c:pt>
                <c:pt idx="188">
                  <c:v>1193.6673138751544</c:v>
                </c:pt>
                <c:pt idx="189">
                  <c:v>1177.5526086170439</c:v>
                </c:pt>
                <c:pt idx="190">
                  <c:v>1158.4900914214743</c:v>
                </c:pt>
                <c:pt idx="191">
                  <c:v>1135.1041167176311</c:v>
                </c:pt>
                <c:pt idx="192">
                  <c:v>1113.2903083804329</c:v>
                </c:pt>
                <c:pt idx="193">
                  <c:v>1093.4417080015407</c:v>
                </c:pt>
                <c:pt idx="194">
                  <c:v>1074.9687531934628</c:v>
                </c:pt>
                <c:pt idx="195">
                  <c:v>1056.4957983853851</c:v>
                </c:pt>
                <c:pt idx="196">
                  <c:v>1037.6298019856461</c:v>
                </c:pt>
                <c:pt idx="197">
                  <c:v>1018.3707639942459</c:v>
                </c:pt>
                <c:pt idx="198">
                  <c:v>999.30824679867624</c:v>
                </c:pt>
                <c:pt idx="199">
                  <c:v>981.62137517392102</c:v>
                </c:pt>
                <c:pt idx="200">
                  <c:v>964.52406593665751</c:v>
                </c:pt>
                <c:pt idx="201">
                  <c:v>947.42675669939399</c:v>
                </c:pt>
                <c:pt idx="202">
                  <c:v>930.1329266662998</c:v>
                </c:pt>
                <c:pt idx="203">
                  <c:v>913.23213822486696</c:v>
                </c:pt>
                <c:pt idx="204">
                  <c:v>896.72439137509537</c:v>
                </c:pt>
                <c:pt idx="205">
                  <c:v>880.80620691281547</c:v>
                </c:pt>
                <c:pt idx="206">
                  <c:v>865.08454324636625</c:v>
                </c:pt>
                <c:pt idx="207">
                  <c:v>849.75592117157839</c:v>
                </c:pt>
                <c:pt idx="208">
                  <c:v>834.6238198926211</c:v>
                </c:pt>
                <c:pt idx="209">
                  <c:v>819.68823940949437</c:v>
                </c:pt>
                <c:pt idx="210">
                  <c:v>804.94917972219821</c:v>
                </c:pt>
                <c:pt idx="211">
                  <c:v>790.60316162656329</c:v>
                </c:pt>
                <c:pt idx="212">
                  <c:v>776.65018512258962</c:v>
                </c:pt>
                <c:pt idx="213">
                  <c:v>762.89372941444663</c:v>
                </c:pt>
                <c:pt idx="214">
                  <c:v>749.3337945021342</c:v>
                </c:pt>
                <c:pt idx="215">
                  <c:v>735.97038038565245</c:v>
                </c:pt>
                <c:pt idx="216">
                  <c:v>723.00000786083183</c:v>
                </c:pt>
                <c:pt idx="217">
                  <c:v>710.22615613184178</c:v>
                </c:pt>
                <c:pt idx="218">
                  <c:v>697.84534599451308</c:v>
                </c:pt>
                <c:pt idx="219">
                  <c:v>685.4645358571845</c:v>
                </c:pt>
                <c:pt idx="220">
                  <c:v>673.47676731151682</c:v>
                </c:pt>
                <c:pt idx="221">
                  <c:v>661.68551956168005</c:v>
                </c:pt>
                <c:pt idx="222">
                  <c:v>650.090792607673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A6E-4170-BCEC-F1AE53DCC95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E$122:$E$344</c:f>
              <c:numCache>
                <c:formatCode>General</c:formatCode>
                <c:ptCount val="223"/>
                <c:pt idx="185" formatCode="0">
                  <c:v>1248.4966159118958</c:v>
                </c:pt>
                <c:pt idx="186" formatCode="0">
                  <c:v>1238.8670969161956</c:v>
                </c:pt>
                <c:pt idx="187" formatCode="0">
                  <c:v>1227.8619323496812</c:v>
                </c:pt>
                <c:pt idx="188">
                  <c:v>1218.232413353981</c:v>
                </c:pt>
                <c:pt idx="189">
                  <c:v>1211.157664704079</c:v>
                </c:pt>
                <c:pt idx="190">
                  <c:v>1202.9037912791932</c:v>
                </c:pt>
                <c:pt idx="191">
                  <c:v>1191.8986267126786</c:v>
                </c:pt>
                <c:pt idx="192">
                  <c:v>1180.5004205545031</c:v>
                </c:pt>
                <c:pt idx="193">
                  <c:v>1170.0848183754804</c:v>
                </c:pt>
                <c:pt idx="194">
                  <c:v>1160.651820175611</c:v>
                </c:pt>
                <c:pt idx="195">
                  <c:v>1151.6118635674027</c:v>
                </c:pt>
                <c:pt idx="196">
                  <c:v>1142.3753861633638</c:v>
                </c:pt>
                <c:pt idx="197">
                  <c:v>1132.3528255760025</c:v>
                </c:pt>
                <c:pt idx="198">
                  <c:v>1122.1337441928106</c:v>
                </c:pt>
                <c:pt idx="199">
                  <c:v>1112.5042251971104</c:v>
                </c:pt>
                <c:pt idx="200">
                  <c:v>1103.2677477930715</c:v>
                </c:pt>
                <c:pt idx="201">
                  <c:v>1094.2277911848632</c:v>
                </c:pt>
                <c:pt idx="202">
                  <c:v>1084.9913137808244</c:v>
                </c:pt>
                <c:pt idx="203">
                  <c:v>1075.7548363767853</c:v>
                </c:pt>
                <c:pt idx="204">
                  <c:v>1066.5183589727465</c:v>
                </c:pt>
                <c:pt idx="205">
                  <c:v>1057.4784023645382</c:v>
                </c:pt>
                <c:pt idx="206">
                  <c:v>1048.6349665521604</c:v>
                </c:pt>
                <c:pt idx="207">
                  <c:v>1039.9880515356135</c:v>
                </c:pt>
                <c:pt idx="208">
                  <c:v>1031.3411365190664</c:v>
                </c:pt>
                <c:pt idx="209">
                  <c:v>1022.6942215025193</c:v>
                </c:pt>
                <c:pt idx="210">
                  <c:v>1014.0473064859724</c:v>
                </c:pt>
                <c:pt idx="211">
                  <c:v>1005.5969122652559</c:v>
                </c:pt>
                <c:pt idx="212">
                  <c:v>997.34303884037013</c:v>
                </c:pt>
                <c:pt idx="213">
                  <c:v>989.08916541548422</c:v>
                </c:pt>
                <c:pt idx="214">
                  <c:v>980.83529199059842</c:v>
                </c:pt>
                <c:pt idx="215">
                  <c:v>972.58141856571262</c:v>
                </c:pt>
                <c:pt idx="216">
                  <c:v>964.52406593665751</c:v>
                </c:pt>
                <c:pt idx="217">
                  <c:v>956.46671330760216</c:v>
                </c:pt>
                <c:pt idx="218">
                  <c:v>948.40936067854693</c:v>
                </c:pt>
                <c:pt idx="219">
                  <c:v>940.54852884532249</c:v>
                </c:pt>
                <c:pt idx="220">
                  <c:v>932.68769701209783</c:v>
                </c:pt>
                <c:pt idx="221">
                  <c:v>925.02338597470396</c:v>
                </c:pt>
                <c:pt idx="222">
                  <c:v>917.359074937309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6E-4170-BCEC-F1AE53DCC95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F$122:$F$344</c:f>
              <c:numCache>
                <c:formatCode>General</c:formatCode>
                <c:ptCount val="223"/>
                <c:pt idx="185" formatCode="0">
                  <c:v>1256.1609269492899</c:v>
                </c:pt>
                <c:pt idx="186" formatCode="0">
                  <c:v>1258.5191764992571</c:v>
                </c:pt>
                <c:pt idx="187" formatCode="0">
                  <c:v>1261.8600300283777</c:v>
                </c:pt>
                <c:pt idx="188">
                  <c:v>1267.9521746991268</c:v>
                </c:pt>
                <c:pt idx="189">
                  <c:v>1279.3503808573023</c:v>
                </c:pt>
                <c:pt idx="190">
                  <c:v>1293.1068365654453</c:v>
                </c:pt>
                <c:pt idx="191">
                  <c:v>1308.0424170485721</c:v>
                </c:pt>
                <c:pt idx="192">
                  <c:v>1319.0475816150865</c:v>
                </c:pt>
                <c:pt idx="193">
                  <c:v>1329.463183794109</c:v>
                </c:pt>
                <c:pt idx="194">
                  <c:v>1341.0579107481153</c:v>
                </c:pt>
                <c:pt idx="195">
                  <c:v>1354.6178456604277</c:v>
                </c:pt>
                <c:pt idx="196">
                  <c:v>1368.9638637560627</c:v>
                </c:pt>
                <c:pt idx="197">
                  <c:v>1382.5237986683751</c:v>
                </c:pt>
                <c:pt idx="198">
                  <c:v>1395.297650397365</c:v>
                </c:pt>
                <c:pt idx="199">
                  <c:v>1407.6784605346938</c:v>
                </c:pt>
                <c:pt idx="200">
                  <c:v>1420.8453538553449</c:v>
                </c:pt>
                <c:pt idx="201">
                  <c:v>1434.7983303593187</c:v>
                </c:pt>
                <c:pt idx="202">
                  <c:v>1449.1443484549536</c:v>
                </c:pt>
                <c:pt idx="203">
                  <c:v>1463.0973249589272</c:v>
                </c:pt>
                <c:pt idx="204">
                  <c:v>1476.6572598712396</c:v>
                </c:pt>
                <c:pt idx="205">
                  <c:v>1490.4137155793826</c:v>
                </c:pt>
                <c:pt idx="206">
                  <c:v>1504.3666920833564</c:v>
                </c:pt>
                <c:pt idx="207">
                  <c:v>1518.7127101789911</c:v>
                </c:pt>
                <c:pt idx="208">
                  <c:v>1533.4517698662873</c:v>
                </c:pt>
                <c:pt idx="209">
                  <c:v>1547.9943087577528</c:v>
                </c:pt>
                <c:pt idx="210">
                  <c:v>1562.3403268533878</c:v>
                </c:pt>
                <c:pt idx="211">
                  <c:v>1577.0793865406838</c:v>
                </c:pt>
                <c:pt idx="212">
                  <c:v>1592.0149670238106</c:v>
                </c:pt>
                <c:pt idx="213">
                  <c:v>1607.3435890985984</c:v>
                </c:pt>
                <c:pt idx="214">
                  <c:v>1622.6722111733864</c:v>
                </c:pt>
                <c:pt idx="215">
                  <c:v>1638.0008332481741</c:v>
                </c:pt>
                <c:pt idx="216">
                  <c:v>1653.3294553229623</c:v>
                </c:pt>
                <c:pt idx="217">
                  <c:v>1669.0511189894116</c:v>
                </c:pt>
                <c:pt idx="218">
                  <c:v>1684.7727826558605</c:v>
                </c:pt>
                <c:pt idx="219">
                  <c:v>1700.6909671181402</c:v>
                </c:pt>
                <c:pt idx="220">
                  <c:v>1716.6091515804203</c:v>
                </c:pt>
                <c:pt idx="221">
                  <c:v>1732.9203776343613</c:v>
                </c:pt>
                <c:pt idx="222">
                  <c:v>1749.23160368830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A6E-4170-BCEC-F1AE53DCC95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G$122:$G$344</c:f>
              <c:numCache>
                <c:formatCode>General</c:formatCode>
                <c:ptCount val="223"/>
                <c:pt idx="185" formatCode="0">
                  <c:v>1260.0913428659021</c:v>
                </c:pt>
                <c:pt idx="186" formatCode="0">
                  <c:v>1268.5417370866187</c:v>
                </c:pt>
                <c:pt idx="187" formatCode="0">
                  <c:v>1279.1538600614717</c:v>
                </c:pt>
                <c:pt idx="188">
                  <c:v>1293.1068365654453</c:v>
                </c:pt>
                <c:pt idx="189">
                  <c:v>1313.9380409234905</c:v>
                </c:pt>
                <c:pt idx="190">
                  <c:v>1339.0927027898092</c:v>
                </c:pt>
                <c:pt idx="191">
                  <c:v>1367.784738981079</c:v>
                </c:pt>
                <c:pt idx="192">
                  <c:v>1390.7776720932609</c:v>
                </c:pt>
                <c:pt idx="193">
                  <c:v>1412.5914804304591</c:v>
                </c:pt>
                <c:pt idx="194">
                  <c:v>1436.1739759301329</c:v>
                </c:pt>
                <c:pt idx="195">
                  <c:v>1462.9008041630964</c:v>
                </c:pt>
                <c:pt idx="196">
                  <c:v>1491.1997987627051</c:v>
                </c:pt>
                <c:pt idx="197">
                  <c:v>1519.1057517706524</c:v>
                </c:pt>
                <c:pt idx="198">
                  <c:v>1546.2256215952773</c:v>
                </c:pt>
                <c:pt idx="199">
                  <c:v>1572.7559290324104</c:v>
                </c:pt>
                <c:pt idx="200">
                  <c:v>1600.4653612445268</c:v>
                </c:pt>
                <c:pt idx="201">
                  <c:v>1629.7469598232885</c:v>
                </c:pt>
                <c:pt idx="202">
                  <c:v>1660.0111623812031</c:v>
                </c:pt>
                <c:pt idx="203">
                  <c:v>1690.0788441432874</c:v>
                </c:pt>
                <c:pt idx="204">
                  <c:v>1720.1465259053712</c:v>
                </c:pt>
                <c:pt idx="205">
                  <c:v>1750.6072492591168</c:v>
                </c:pt>
                <c:pt idx="206">
                  <c:v>1781.8540557961844</c:v>
                </c:pt>
                <c:pt idx="207">
                  <c:v>1814.2799871082357</c:v>
                </c:pt>
                <c:pt idx="208">
                  <c:v>1847.2954808077791</c:v>
                </c:pt>
                <c:pt idx="209">
                  <c:v>1880.7040160989836</c:v>
                </c:pt>
                <c:pt idx="210">
                  <c:v>1914.3090721860187</c:v>
                </c:pt>
                <c:pt idx="211">
                  <c:v>1948.5036906605458</c:v>
                </c:pt>
                <c:pt idx="212">
                  <c:v>1983.4843923183951</c:v>
                </c:pt>
                <c:pt idx="213">
                  <c:v>2019.2511771595669</c:v>
                </c:pt>
                <c:pt idx="214">
                  <c:v>2055.6075243882306</c:v>
                </c:pt>
                <c:pt idx="215">
                  <c:v>2092.5534340043864</c:v>
                </c:pt>
                <c:pt idx="216">
                  <c:v>2129.892385212203</c:v>
                </c:pt>
                <c:pt idx="217">
                  <c:v>2168.0174196033427</c:v>
                </c:pt>
                <c:pt idx="218">
                  <c:v>2206.9285371778042</c:v>
                </c:pt>
                <c:pt idx="219">
                  <c:v>2246.4292171397578</c:v>
                </c:pt>
                <c:pt idx="220">
                  <c:v>2286.7159802850338</c:v>
                </c:pt>
                <c:pt idx="221">
                  <c:v>2327.5923058178014</c:v>
                </c:pt>
                <c:pt idx="222">
                  <c:v>2369.05819373806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DA6E-4170-BCEC-F1AE53DCC9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B$244:$B$497</c:f>
              <c:numCache>
                <c:formatCode>0</c:formatCode>
                <c:ptCount val="254"/>
                <c:pt idx="0">
                  <c:v>121</c:v>
                </c:pt>
                <c:pt idx="1">
                  <c:v>67</c:v>
                </c:pt>
                <c:pt idx="2">
                  <c:v>210</c:v>
                </c:pt>
                <c:pt idx="3">
                  <c:v>304</c:v>
                </c:pt>
                <c:pt idx="4">
                  <c:v>209</c:v>
                </c:pt>
                <c:pt idx="5">
                  <c:v>195</c:v>
                </c:pt>
                <c:pt idx="6">
                  <c:v>205</c:v>
                </c:pt>
                <c:pt idx="7">
                  <c:v>87</c:v>
                </c:pt>
                <c:pt idx="8">
                  <c:v>73</c:v>
                </c:pt>
                <c:pt idx="9">
                  <c:v>168</c:v>
                </c:pt>
                <c:pt idx="10">
                  <c:v>227</c:v>
                </c:pt>
                <c:pt idx="11">
                  <c:v>160</c:v>
                </c:pt>
                <c:pt idx="12">
                  <c:v>132</c:v>
                </c:pt>
                <c:pt idx="13">
                  <c:v>101</c:v>
                </c:pt>
                <c:pt idx="14">
                  <c:v>99</c:v>
                </c:pt>
                <c:pt idx="15">
                  <c:v>59</c:v>
                </c:pt>
                <c:pt idx="16">
                  <c:v>102</c:v>
                </c:pt>
                <c:pt idx="17">
                  <c:v>169</c:v>
                </c:pt>
                <c:pt idx="18">
                  <c:v>113</c:v>
                </c:pt>
                <c:pt idx="19">
                  <c:v>61</c:v>
                </c:pt>
                <c:pt idx="20">
                  <c:v>88</c:v>
                </c:pt>
                <c:pt idx="21">
                  <c:v>32</c:v>
                </c:pt>
                <c:pt idx="22">
                  <c:v>39</c:v>
                </c:pt>
                <c:pt idx="23">
                  <c:v>62</c:v>
                </c:pt>
                <c:pt idx="24">
                  <c:v>77</c:v>
                </c:pt>
                <c:pt idx="25">
                  <c:v>63</c:v>
                </c:pt>
                <c:pt idx="26">
                  <c:v>66</c:v>
                </c:pt>
                <c:pt idx="27">
                  <c:v>29</c:v>
                </c:pt>
                <c:pt idx="28">
                  <c:v>27</c:v>
                </c:pt>
                <c:pt idx="29">
                  <c:v>9</c:v>
                </c:pt>
                <c:pt idx="30">
                  <c:v>60</c:v>
                </c:pt>
                <c:pt idx="31">
                  <c:v>41</c:v>
                </c:pt>
                <c:pt idx="32">
                  <c:v>45</c:v>
                </c:pt>
                <c:pt idx="33">
                  <c:v>32</c:v>
                </c:pt>
                <c:pt idx="34">
                  <c:v>35</c:v>
                </c:pt>
                <c:pt idx="35">
                  <c:v>17</c:v>
                </c:pt>
                <c:pt idx="36">
                  <c:v>5</c:v>
                </c:pt>
                <c:pt idx="37">
                  <c:v>25</c:v>
                </c:pt>
                <c:pt idx="38">
                  <c:v>36</c:v>
                </c:pt>
                <c:pt idx="39">
                  <c:v>20</c:v>
                </c:pt>
                <c:pt idx="40">
                  <c:v>20</c:v>
                </c:pt>
                <c:pt idx="41">
                  <c:v>18</c:v>
                </c:pt>
                <c:pt idx="42">
                  <c:v>12</c:v>
                </c:pt>
                <c:pt idx="43">
                  <c:v>7</c:v>
                </c:pt>
                <c:pt idx="44">
                  <c:v>12</c:v>
                </c:pt>
                <c:pt idx="45">
                  <c:v>12</c:v>
                </c:pt>
                <c:pt idx="46">
                  <c:v>15</c:v>
                </c:pt>
                <c:pt idx="47">
                  <c:v>7</c:v>
                </c:pt>
                <c:pt idx="48">
                  <c:v>18</c:v>
                </c:pt>
                <c:pt idx="49">
                  <c:v>0</c:v>
                </c:pt>
                <c:pt idx="50">
                  <c:v>5</c:v>
                </c:pt>
                <c:pt idx="51">
                  <c:v>10</c:v>
                </c:pt>
                <c:pt idx="52">
                  <c:v>12</c:v>
                </c:pt>
                <c:pt idx="53">
                  <c:v>10</c:v>
                </c:pt>
                <c:pt idx="54">
                  <c:v>9</c:v>
                </c:pt>
                <c:pt idx="55">
                  <c:v>9</c:v>
                </c:pt>
                <c:pt idx="56">
                  <c:v>4</c:v>
                </c:pt>
                <c:pt idx="57">
                  <c:v>6</c:v>
                </c:pt>
                <c:pt idx="58">
                  <c:v>14</c:v>
                </c:pt>
                <c:pt idx="59">
                  <c:v>11</c:v>
                </c:pt>
                <c:pt idx="60">
                  <c:v>5</c:v>
                </c:pt>
                <c:pt idx="61">
                  <c:v>9</c:v>
                </c:pt>
                <c:pt idx="62">
                  <c:v>6</c:v>
                </c:pt>
                <c:pt idx="63">
                  <c:v>11</c:v>
                </c:pt>
                <c:pt idx="64">
                  <c:v>4</c:v>
                </c:pt>
                <c:pt idx="65">
                  <c:v>5</c:v>
                </c:pt>
                <c:pt idx="66">
                  <c:v>3</c:v>
                </c:pt>
                <c:pt idx="67">
                  <c:v>13</c:v>
                </c:pt>
                <c:pt idx="68">
                  <c:v>10</c:v>
                </c:pt>
                <c:pt idx="69">
                  <c:v>16</c:v>
                </c:pt>
                <c:pt idx="70">
                  <c:v>5</c:v>
                </c:pt>
                <c:pt idx="71">
                  <c:v>2</c:v>
                </c:pt>
                <c:pt idx="72">
                  <c:v>13</c:v>
                </c:pt>
                <c:pt idx="73">
                  <c:v>9</c:v>
                </c:pt>
                <c:pt idx="74">
                  <c:v>20</c:v>
                </c:pt>
                <c:pt idx="75">
                  <c:v>13</c:v>
                </c:pt>
                <c:pt idx="76">
                  <c:v>11</c:v>
                </c:pt>
                <c:pt idx="77">
                  <c:v>7</c:v>
                </c:pt>
                <c:pt idx="78">
                  <c:v>2</c:v>
                </c:pt>
                <c:pt idx="79">
                  <c:v>15</c:v>
                </c:pt>
                <c:pt idx="80">
                  <c:v>14</c:v>
                </c:pt>
                <c:pt idx="81">
                  <c:v>14</c:v>
                </c:pt>
                <c:pt idx="82">
                  <c:v>21</c:v>
                </c:pt>
                <c:pt idx="83">
                  <c:v>9</c:v>
                </c:pt>
                <c:pt idx="84">
                  <c:v>16</c:v>
                </c:pt>
                <c:pt idx="85">
                  <c:v>9</c:v>
                </c:pt>
                <c:pt idx="86">
                  <c:v>17</c:v>
                </c:pt>
                <c:pt idx="87">
                  <c:v>21</c:v>
                </c:pt>
                <c:pt idx="88">
                  <c:v>15</c:v>
                </c:pt>
                <c:pt idx="89">
                  <c:v>12</c:v>
                </c:pt>
                <c:pt idx="90">
                  <c:v>14</c:v>
                </c:pt>
                <c:pt idx="91">
                  <c:v>6</c:v>
                </c:pt>
                <c:pt idx="92">
                  <c:v>4</c:v>
                </c:pt>
                <c:pt idx="93">
                  <c:v>14</c:v>
                </c:pt>
                <c:pt idx="94">
                  <c:v>22</c:v>
                </c:pt>
                <c:pt idx="95">
                  <c:v>28</c:v>
                </c:pt>
                <c:pt idx="96">
                  <c:v>20</c:v>
                </c:pt>
                <c:pt idx="97">
                  <c:v>19</c:v>
                </c:pt>
                <c:pt idx="98">
                  <c:v>9</c:v>
                </c:pt>
                <c:pt idx="99">
                  <c:v>6</c:v>
                </c:pt>
                <c:pt idx="100">
                  <c:v>19</c:v>
                </c:pt>
                <c:pt idx="101">
                  <c:v>12</c:v>
                </c:pt>
                <c:pt idx="102">
                  <c:v>27</c:v>
                </c:pt>
                <c:pt idx="103">
                  <c:v>13</c:v>
                </c:pt>
                <c:pt idx="104">
                  <c:v>20</c:v>
                </c:pt>
                <c:pt idx="105">
                  <c:v>13</c:v>
                </c:pt>
                <c:pt idx="106">
                  <c:v>1</c:v>
                </c:pt>
                <c:pt idx="107">
                  <c:v>19</c:v>
                </c:pt>
                <c:pt idx="108">
                  <c:v>26</c:v>
                </c:pt>
                <c:pt idx="109">
                  <c:v>18</c:v>
                </c:pt>
                <c:pt idx="110">
                  <c:v>11</c:v>
                </c:pt>
                <c:pt idx="111">
                  <c:v>14</c:v>
                </c:pt>
                <c:pt idx="112">
                  <c:v>7</c:v>
                </c:pt>
                <c:pt idx="113">
                  <c:v>8</c:v>
                </c:pt>
                <c:pt idx="114">
                  <c:v>33</c:v>
                </c:pt>
                <c:pt idx="115">
                  <c:v>26</c:v>
                </c:pt>
                <c:pt idx="116">
                  <c:v>24</c:v>
                </c:pt>
                <c:pt idx="117">
                  <c:v>28</c:v>
                </c:pt>
                <c:pt idx="118">
                  <c:v>17</c:v>
                </c:pt>
                <c:pt idx="119">
                  <c:v>10</c:v>
                </c:pt>
                <c:pt idx="120">
                  <c:v>3</c:v>
                </c:pt>
                <c:pt idx="121">
                  <c:v>18</c:v>
                </c:pt>
                <c:pt idx="122">
                  <c:v>26</c:v>
                </c:pt>
                <c:pt idx="123">
                  <c:v>42</c:v>
                </c:pt>
                <c:pt idx="124">
                  <c:v>32</c:v>
                </c:pt>
                <c:pt idx="125">
                  <c:v>33</c:v>
                </c:pt>
                <c:pt idx="126">
                  <c:v>27</c:v>
                </c:pt>
                <c:pt idx="127">
                  <c:v>21</c:v>
                </c:pt>
                <c:pt idx="128">
                  <c:v>55</c:v>
                </c:pt>
                <c:pt idx="129">
                  <c:v>47</c:v>
                </c:pt>
                <c:pt idx="130">
                  <c:v>32</c:v>
                </c:pt>
                <c:pt idx="131">
                  <c:v>48</c:v>
                </c:pt>
                <c:pt idx="132">
                  <c:v>49</c:v>
                </c:pt>
                <c:pt idx="133">
                  <c:v>23</c:v>
                </c:pt>
                <c:pt idx="134">
                  <c:v>13</c:v>
                </c:pt>
                <c:pt idx="135">
                  <c:v>54</c:v>
                </c:pt>
                <c:pt idx="136">
                  <c:v>56</c:v>
                </c:pt>
                <c:pt idx="137">
                  <c:v>56</c:v>
                </c:pt>
                <c:pt idx="138">
                  <c:v>66</c:v>
                </c:pt>
                <c:pt idx="139">
                  <c:v>53</c:v>
                </c:pt>
                <c:pt idx="140">
                  <c:v>32</c:v>
                </c:pt>
                <c:pt idx="141">
                  <c:v>16</c:v>
                </c:pt>
                <c:pt idx="142">
                  <c:v>46</c:v>
                </c:pt>
                <c:pt idx="143">
                  <c:v>49</c:v>
                </c:pt>
                <c:pt idx="144">
                  <c:v>47</c:v>
                </c:pt>
                <c:pt idx="145">
                  <c:v>53</c:v>
                </c:pt>
                <c:pt idx="146">
                  <c:v>64</c:v>
                </c:pt>
                <c:pt idx="147">
                  <c:v>48</c:v>
                </c:pt>
                <c:pt idx="148">
                  <c:v>33</c:v>
                </c:pt>
                <c:pt idx="149">
                  <c:v>98</c:v>
                </c:pt>
                <c:pt idx="150">
                  <c:v>50</c:v>
                </c:pt>
                <c:pt idx="151">
                  <c:v>122</c:v>
                </c:pt>
                <c:pt idx="152">
                  <c:v>132</c:v>
                </c:pt>
                <c:pt idx="153">
                  <c:v>75</c:v>
                </c:pt>
                <c:pt idx="154">
                  <c:v>77</c:v>
                </c:pt>
                <c:pt idx="155">
                  <c:v>37</c:v>
                </c:pt>
                <c:pt idx="156">
                  <c:v>111</c:v>
                </c:pt>
                <c:pt idx="157">
                  <c:v>123</c:v>
                </c:pt>
                <c:pt idx="158">
                  <c:v>131</c:v>
                </c:pt>
                <c:pt idx="159">
                  <c:v>108</c:v>
                </c:pt>
                <c:pt idx="160">
                  <c:v>143</c:v>
                </c:pt>
                <c:pt idx="161">
                  <c:v>63</c:v>
                </c:pt>
                <c:pt idx="162">
                  <c:v>42</c:v>
                </c:pt>
                <c:pt idx="163">
                  <c:v>184</c:v>
                </c:pt>
                <c:pt idx="164">
                  <c:v>161</c:v>
                </c:pt>
                <c:pt idx="165">
                  <c:v>157</c:v>
                </c:pt>
                <c:pt idx="166">
                  <c:v>210</c:v>
                </c:pt>
                <c:pt idx="167">
                  <c:v>174</c:v>
                </c:pt>
                <c:pt idx="168">
                  <c:v>144</c:v>
                </c:pt>
                <c:pt idx="169">
                  <c:v>121</c:v>
                </c:pt>
                <c:pt idx="170">
                  <c:v>329</c:v>
                </c:pt>
                <c:pt idx="171">
                  <c:v>354</c:v>
                </c:pt>
                <c:pt idx="172">
                  <c:v>414</c:v>
                </c:pt>
                <c:pt idx="173">
                  <c:v>461</c:v>
                </c:pt>
                <c:pt idx="174">
                  <c:v>610</c:v>
                </c:pt>
                <c:pt idx="175">
                  <c:v>331</c:v>
                </c:pt>
                <c:pt idx="176">
                  <c:v>286</c:v>
                </c:pt>
                <c:pt idx="177">
                  <c:v>691</c:v>
                </c:pt>
                <c:pt idx="178">
                  <c:v>808</c:v>
                </c:pt>
                <c:pt idx="179">
                  <c:v>845</c:v>
                </c:pt>
                <c:pt idx="180">
                  <c:v>576</c:v>
                </c:pt>
                <c:pt idx="181">
                  <c:v>930</c:v>
                </c:pt>
                <c:pt idx="182">
                  <c:v>765</c:v>
                </c:pt>
                <c:pt idx="183">
                  <c:v>427</c:v>
                </c:pt>
                <c:pt idx="184">
                  <c:v>1303</c:v>
                </c:pt>
                <c:pt idx="185">
                  <c:v>1511</c:v>
                </c:pt>
                <c:pt idx="186">
                  <c:v>1356</c:v>
                </c:pt>
                <c:pt idx="187">
                  <c:v>1117</c:v>
                </c:pt>
                <c:pt idx="188">
                  <c:v>1419</c:v>
                </c:pt>
                <c:pt idx="189">
                  <c:v>672</c:v>
                </c:pt>
                <c:pt idx="190">
                  <c:v>464</c:v>
                </c:pt>
                <c:pt idx="191">
                  <c:v>1555</c:v>
                </c:pt>
                <c:pt idx="192">
                  <c:v>2084</c:v>
                </c:pt>
                <c:pt idx="193">
                  <c:v>2062</c:v>
                </c:pt>
                <c:pt idx="194">
                  <c:v>1501</c:v>
                </c:pt>
                <c:pt idx="195">
                  <c:v>2158</c:v>
                </c:pt>
                <c:pt idx="196">
                  <c:v>1096</c:v>
                </c:pt>
                <c:pt idx="197">
                  <c:v>803</c:v>
                </c:pt>
                <c:pt idx="198">
                  <c:v>1896</c:v>
                </c:pt>
                <c:pt idx="199">
                  <c:v>3425</c:v>
                </c:pt>
                <c:pt idx="200">
                  <c:v>1595</c:v>
                </c:pt>
                <c:pt idx="201">
                  <c:v>1994</c:v>
                </c:pt>
                <c:pt idx="202">
                  <c:v>3452</c:v>
                </c:pt>
                <c:pt idx="203">
                  <c:v>1575</c:v>
                </c:pt>
                <c:pt idx="204">
                  <c:v>940</c:v>
                </c:pt>
                <c:pt idx="205">
                  <c:v>2055</c:v>
                </c:pt>
                <c:pt idx="206">
                  <c:v>3522</c:v>
                </c:pt>
                <c:pt idx="207">
                  <c:v>2293</c:v>
                </c:pt>
                <c:pt idx="208">
                  <c:v>3792</c:v>
                </c:pt>
                <c:pt idx="209">
                  <c:v>2787</c:v>
                </c:pt>
                <c:pt idx="210">
                  <c:v>1226</c:v>
                </c:pt>
                <c:pt idx="211">
                  <c:v>1287</c:v>
                </c:pt>
                <c:pt idx="212">
                  <c:v>2655</c:v>
                </c:pt>
                <c:pt idx="213">
                  <c:v>2769</c:v>
                </c:pt>
                <c:pt idx="214">
                  <c:v>3009</c:v>
                </c:pt>
                <c:pt idx="215">
                  <c:v>2484</c:v>
                </c:pt>
                <c:pt idx="216">
                  <c:v>2053</c:v>
                </c:pt>
                <c:pt idx="217">
                  <c:v>1221</c:v>
                </c:pt>
                <c:pt idx="218">
                  <c:v>766</c:v>
                </c:pt>
                <c:pt idx="219">
                  <c:v>1943</c:v>
                </c:pt>
                <c:pt idx="220">
                  <c:v>24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0A-4733-AA2C-6A31356AE6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C$244:$C$497</c:f>
              <c:numCache>
                <c:formatCode>General</c:formatCode>
                <c:ptCount val="25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E0A-4733-AA2C-6A31356AE69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D$244:$D$497</c:f>
              <c:numCache>
                <c:formatCode>General</c:formatCode>
                <c:ptCount val="254"/>
                <c:pt idx="73">
                  <c:v>0</c:v>
                </c:pt>
                <c:pt idx="216">
                  <c:v>2646</c:v>
                </c:pt>
                <c:pt idx="217">
                  <c:v>2572</c:v>
                </c:pt>
                <c:pt idx="218">
                  <c:v>2517</c:v>
                </c:pt>
                <c:pt idx="219">
                  <c:v>2485</c:v>
                </c:pt>
                <c:pt idx="220">
                  <c:v>2451</c:v>
                </c:pt>
                <c:pt idx="221">
                  <c:v>2416</c:v>
                </c:pt>
                <c:pt idx="222">
                  <c:v>2370</c:v>
                </c:pt>
                <c:pt idx="223">
                  <c:v>2313</c:v>
                </c:pt>
                <c:pt idx="224">
                  <c:v>2268</c:v>
                </c:pt>
                <c:pt idx="225">
                  <c:v>2232</c:v>
                </c:pt>
                <c:pt idx="226">
                  <c:v>2199</c:v>
                </c:pt>
                <c:pt idx="227">
                  <c:v>2160</c:v>
                </c:pt>
                <c:pt idx="228">
                  <c:v>2119</c:v>
                </c:pt>
                <c:pt idx="229">
                  <c:v>2077</c:v>
                </c:pt>
                <c:pt idx="230">
                  <c:v>2039</c:v>
                </c:pt>
                <c:pt idx="231">
                  <c:v>2004</c:v>
                </c:pt>
                <c:pt idx="232">
                  <c:v>1970</c:v>
                </c:pt>
                <c:pt idx="233">
                  <c:v>1936</c:v>
                </c:pt>
                <c:pt idx="234">
                  <c:v>1899</c:v>
                </c:pt>
                <c:pt idx="235">
                  <c:v>1864</c:v>
                </c:pt>
                <c:pt idx="236">
                  <c:v>1831</c:v>
                </c:pt>
                <c:pt idx="237">
                  <c:v>1799</c:v>
                </c:pt>
                <c:pt idx="238">
                  <c:v>1768</c:v>
                </c:pt>
                <c:pt idx="239">
                  <c:v>1737</c:v>
                </c:pt>
                <c:pt idx="240">
                  <c:v>1705</c:v>
                </c:pt>
                <c:pt idx="241">
                  <c:v>1675</c:v>
                </c:pt>
                <c:pt idx="242">
                  <c:v>1645</c:v>
                </c:pt>
                <c:pt idx="243">
                  <c:v>1616</c:v>
                </c:pt>
                <c:pt idx="244">
                  <c:v>1588</c:v>
                </c:pt>
                <c:pt idx="245">
                  <c:v>1560</c:v>
                </c:pt>
                <c:pt idx="246">
                  <c:v>1532</c:v>
                </c:pt>
                <c:pt idx="247">
                  <c:v>1505</c:v>
                </c:pt>
                <c:pt idx="248">
                  <c:v>1479</c:v>
                </c:pt>
                <c:pt idx="249">
                  <c:v>1453</c:v>
                </c:pt>
                <c:pt idx="250">
                  <c:v>1427</c:v>
                </c:pt>
                <c:pt idx="251">
                  <c:v>1402</c:v>
                </c:pt>
                <c:pt idx="252">
                  <c:v>1378</c:v>
                </c:pt>
                <c:pt idx="253">
                  <c:v>13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0A-4733-AA2C-6A31356AE69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E$244:$E$497</c:f>
              <c:numCache>
                <c:formatCode>General</c:formatCode>
                <c:ptCount val="254"/>
                <c:pt idx="216">
                  <c:v>2705</c:v>
                </c:pt>
                <c:pt idx="217">
                  <c:v>2663</c:v>
                </c:pt>
                <c:pt idx="218">
                  <c:v>2627</c:v>
                </c:pt>
                <c:pt idx="219">
                  <c:v>2606</c:v>
                </c:pt>
                <c:pt idx="220">
                  <c:v>2591</c:v>
                </c:pt>
                <c:pt idx="221">
                  <c:v>2580</c:v>
                </c:pt>
                <c:pt idx="222">
                  <c:v>2560</c:v>
                </c:pt>
                <c:pt idx="223">
                  <c:v>2530</c:v>
                </c:pt>
                <c:pt idx="224">
                  <c:v>2502</c:v>
                </c:pt>
                <c:pt idx="225">
                  <c:v>2482</c:v>
                </c:pt>
                <c:pt idx="226">
                  <c:v>2466</c:v>
                </c:pt>
                <c:pt idx="227">
                  <c:v>2448</c:v>
                </c:pt>
                <c:pt idx="228">
                  <c:v>2427</c:v>
                </c:pt>
                <c:pt idx="229">
                  <c:v>2403</c:v>
                </c:pt>
                <c:pt idx="230">
                  <c:v>2381</c:v>
                </c:pt>
                <c:pt idx="231">
                  <c:v>2361</c:v>
                </c:pt>
                <c:pt idx="232">
                  <c:v>2344</c:v>
                </c:pt>
                <c:pt idx="233">
                  <c:v>2325</c:v>
                </c:pt>
                <c:pt idx="234">
                  <c:v>2305</c:v>
                </c:pt>
                <c:pt idx="235">
                  <c:v>2284</c:v>
                </c:pt>
                <c:pt idx="236">
                  <c:v>2265</c:v>
                </c:pt>
                <c:pt idx="237">
                  <c:v>2246</c:v>
                </c:pt>
                <c:pt idx="238">
                  <c:v>2228</c:v>
                </c:pt>
                <c:pt idx="239">
                  <c:v>2210</c:v>
                </c:pt>
                <c:pt idx="240">
                  <c:v>2191</c:v>
                </c:pt>
                <c:pt idx="241">
                  <c:v>2172</c:v>
                </c:pt>
                <c:pt idx="242">
                  <c:v>2154</c:v>
                </c:pt>
                <c:pt idx="243">
                  <c:v>2136</c:v>
                </c:pt>
                <c:pt idx="244">
                  <c:v>2118</c:v>
                </c:pt>
                <c:pt idx="245">
                  <c:v>2101</c:v>
                </c:pt>
                <c:pt idx="246">
                  <c:v>2083</c:v>
                </c:pt>
                <c:pt idx="247">
                  <c:v>2066</c:v>
                </c:pt>
                <c:pt idx="248">
                  <c:v>2049</c:v>
                </c:pt>
                <c:pt idx="249">
                  <c:v>2032</c:v>
                </c:pt>
                <c:pt idx="250">
                  <c:v>2015</c:v>
                </c:pt>
                <c:pt idx="251">
                  <c:v>1998</c:v>
                </c:pt>
                <c:pt idx="252">
                  <c:v>1982</c:v>
                </c:pt>
                <c:pt idx="253">
                  <c:v>19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E0A-4733-AA2C-6A31356AE69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F$244:$F$497</c:f>
              <c:numCache>
                <c:formatCode>General</c:formatCode>
                <c:ptCount val="254"/>
                <c:pt idx="216">
                  <c:v>2824</c:v>
                </c:pt>
                <c:pt idx="217">
                  <c:v>2847</c:v>
                </c:pt>
                <c:pt idx="218">
                  <c:v>2848</c:v>
                </c:pt>
                <c:pt idx="219">
                  <c:v>2847</c:v>
                </c:pt>
                <c:pt idx="220">
                  <c:v>2875</c:v>
                </c:pt>
                <c:pt idx="221">
                  <c:v>2919</c:v>
                </c:pt>
                <c:pt idx="222">
                  <c:v>2959</c:v>
                </c:pt>
                <c:pt idx="223">
                  <c:v>2992</c:v>
                </c:pt>
                <c:pt idx="224">
                  <c:v>3006</c:v>
                </c:pt>
                <c:pt idx="225">
                  <c:v>3026</c:v>
                </c:pt>
                <c:pt idx="226">
                  <c:v>3056</c:v>
                </c:pt>
                <c:pt idx="227">
                  <c:v>3094</c:v>
                </c:pt>
                <c:pt idx="228">
                  <c:v>3128</c:v>
                </c:pt>
                <c:pt idx="229">
                  <c:v>3156</c:v>
                </c:pt>
                <c:pt idx="230">
                  <c:v>3182</c:v>
                </c:pt>
                <c:pt idx="231">
                  <c:v>3208</c:v>
                </c:pt>
                <c:pt idx="232">
                  <c:v>3240</c:v>
                </c:pt>
                <c:pt idx="233">
                  <c:v>3275</c:v>
                </c:pt>
                <c:pt idx="234">
                  <c:v>3308</c:v>
                </c:pt>
                <c:pt idx="235">
                  <c:v>3338</c:v>
                </c:pt>
                <c:pt idx="236">
                  <c:v>3367</c:v>
                </c:pt>
                <c:pt idx="237">
                  <c:v>3398</c:v>
                </c:pt>
                <c:pt idx="238">
                  <c:v>3432</c:v>
                </c:pt>
                <c:pt idx="239">
                  <c:v>3466</c:v>
                </c:pt>
                <c:pt idx="240">
                  <c:v>3499</c:v>
                </c:pt>
                <c:pt idx="241">
                  <c:v>3531</c:v>
                </c:pt>
                <c:pt idx="242">
                  <c:v>3564</c:v>
                </c:pt>
                <c:pt idx="243">
                  <c:v>3597</c:v>
                </c:pt>
                <c:pt idx="244">
                  <c:v>3632</c:v>
                </c:pt>
                <c:pt idx="245">
                  <c:v>3667</c:v>
                </c:pt>
                <c:pt idx="246">
                  <c:v>3701</c:v>
                </c:pt>
                <c:pt idx="247">
                  <c:v>3736</c:v>
                </c:pt>
                <c:pt idx="248">
                  <c:v>3771</c:v>
                </c:pt>
                <c:pt idx="249">
                  <c:v>3806</c:v>
                </c:pt>
                <c:pt idx="250">
                  <c:v>3843</c:v>
                </c:pt>
                <c:pt idx="251">
                  <c:v>3879</c:v>
                </c:pt>
                <c:pt idx="252">
                  <c:v>3915</c:v>
                </c:pt>
                <c:pt idx="253">
                  <c:v>39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E0A-4733-AA2C-6A31356AE69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G$244:$G$497</c:f>
              <c:numCache>
                <c:formatCode>General</c:formatCode>
                <c:ptCount val="254"/>
                <c:pt idx="216">
                  <c:v>2883</c:v>
                </c:pt>
                <c:pt idx="217">
                  <c:v>2939</c:v>
                </c:pt>
                <c:pt idx="218">
                  <c:v>2958</c:v>
                </c:pt>
                <c:pt idx="219">
                  <c:v>2968</c:v>
                </c:pt>
                <c:pt idx="220">
                  <c:v>3019</c:v>
                </c:pt>
                <c:pt idx="221">
                  <c:v>3094</c:v>
                </c:pt>
                <c:pt idx="222">
                  <c:v>3169</c:v>
                </c:pt>
                <c:pt idx="223">
                  <c:v>3237</c:v>
                </c:pt>
                <c:pt idx="224">
                  <c:v>3276</c:v>
                </c:pt>
                <c:pt idx="225">
                  <c:v>3320</c:v>
                </c:pt>
                <c:pt idx="226">
                  <c:v>3379</c:v>
                </c:pt>
                <c:pt idx="227">
                  <c:v>3453</c:v>
                </c:pt>
                <c:pt idx="228">
                  <c:v>3524</c:v>
                </c:pt>
                <c:pt idx="229">
                  <c:v>3586</c:v>
                </c:pt>
                <c:pt idx="230">
                  <c:v>3644</c:v>
                </c:pt>
                <c:pt idx="231">
                  <c:v>3704</c:v>
                </c:pt>
                <c:pt idx="232">
                  <c:v>3772</c:v>
                </c:pt>
                <c:pt idx="233">
                  <c:v>3845</c:v>
                </c:pt>
                <c:pt idx="234">
                  <c:v>3918</c:v>
                </c:pt>
                <c:pt idx="235">
                  <c:v>3987</c:v>
                </c:pt>
                <c:pt idx="236">
                  <c:v>4055</c:v>
                </c:pt>
                <c:pt idx="237">
                  <c:v>4126</c:v>
                </c:pt>
                <c:pt idx="238">
                  <c:v>4201</c:v>
                </c:pt>
                <c:pt idx="239">
                  <c:v>4279</c:v>
                </c:pt>
                <c:pt idx="240">
                  <c:v>4357</c:v>
                </c:pt>
                <c:pt idx="241">
                  <c:v>4434</c:v>
                </c:pt>
                <c:pt idx="242">
                  <c:v>4512</c:v>
                </c:pt>
                <c:pt idx="243">
                  <c:v>4593</c:v>
                </c:pt>
                <c:pt idx="244">
                  <c:v>4676</c:v>
                </c:pt>
                <c:pt idx="245">
                  <c:v>4761</c:v>
                </c:pt>
                <c:pt idx="246">
                  <c:v>4846</c:v>
                </c:pt>
                <c:pt idx="247">
                  <c:v>4932</c:v>
                </c:pt>
                <c:pt idx="248">
                  <c:v>5020</c:v>
                </c:pt>
                <c:pt idx="249">
                  <c:v>5110</c:v>
                </c:pt>
                <c:pt idx="250">
                  <c:v>5202</c:v>
                </c:pt>
                <c:pt idx="251">
                  <c:v>5295</c:v>
                </c:pt>
                <c:pt idx="252">
                  <c:v>5390</c:v>
                </c:pt>
                <c:pt idx="253">
                  <c:v>54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E0A-4733-AA2C-6A31356AE6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H$122:$H$344</c:f>
              <c:numCache>
                <c:formatCode>0</c:formatCode>
                <c:ptCount val="22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  <c:pt idx="188" formatCode="General">
                  <c:v>100</c:v>
                </c:pt>
                <c:pt idx="189" formatCode="General">
                  <c:v>100</c:v>
                </c:pt>
                <c:pt idx="190" formatCode="General">
                  <c:v>100</c:v>
                </c:pt>
                <c:pt idx="191" formatCode="General">
                  <c:v>100</c:v>
                </c:pt>
                <c:pt idx="192" formatCode="General">
                  <c:v>100</c:v>
                </c:pt>
                <c:pt idx="193" formatCode="General">
                  <c:v>100</c:v>
                </c:pt>
                <c:pt idx="194" formatCode="General">
                  <c:v>100</c:v>
                </c:pt>
                <c:pt idx="195" formatCode="General">
                  <c:v>100</c:v>
                </c:pt>
                <c:pt idx="196" formatCode="General">
                  <c:v>100</c:v>
                </c:pt>
                <c:pt idx="197" formatCode="General">
                  <c:v>100</c:v>
                </c:pt>
                <c:pt idx="198" formatCode="General">
                  <c:v>100</c:v>
                </c:pt>
                <c:pt idx="199" formatCode="General">
                  <c:v>100</c:v>
                </c:pt>
                <c:pt idx="200" formatCode="General">
                  <c:v>100</c:v>
                </c:pt>
                <c:pt idx="201" formatCode="General">
                  <c:v>100</c:v>
                </c:pt>
                <c:pt idx="202" formatCode="General">
                  <c:v>100</c:v>
                </c:pt>
                <c:pt idx="203" formatCode="General">
                  <c:v>100</c:v>
                </c:pt>
                <c:pt idx="204" formatCode="General">
                  <c:v>100</c:v>
                </c:pt>
                <c:pt idx="205" formatCode="General">
                  <c:v>100</c:v>
                </c:pt>
                <c:pt idx="206" formatCode="General">
                  <c:v>100</c:v>
                </c:pt>
                <c:pt idx="207" formatCode="General">
                  <c:v>100</c:v>
                </c:pt>
                <c:pt idx="208" formatCode="General">
                  <c:v>100</c:v>
                </c:pt>
                <c:pt idx="209" formatCode="General">
                  <c:v>100</c:v>
                </c:pt>
                <c:pt idx="210" formatCode="General">
                  <c:v>100</c:v>
                </c:pt>
                <c:pt idx="211" formatCode="General">
                  <c:v>100</c:v>
                </c:pt>
                <c:pt idx="212" formatCode="General">
                  <c:v>100</c:v>
                </c:pt>
                <c:pt idx="213" formatCode="General">
                  <c:v>100</c:v>
                </c:pt>
                <c:pt idx="214" formatCode="General">
                  <c:v>100</c:v>
                </c:pt>
                <c:pt idx="215" formatCode="General">
                  <c:v>100</c:v>
                </c:pt>
                <c:pt idx="216" formatCode="General">
                  <c:v>100</c:v>
                </c:pt>
                <c:pt idx="217" formatCode="General">
                  <c:v>100</c:v>
                </c:pt>
                <c:pt idx="218" formatCode="General">
                  <c:v>100</c:v>
                </c:pt>
                <c:pt idx="219" formatCode="General">
                  <c:v>100</c:v>
                </c:pt>
                <c:pt idx="220" formatCode="General">
                  <c:v>100</c:v>
                </c:pt>
                <c:pt idx="221" formatCode="General">
                  <c:v>100</c:v>
                </c:pt>
                <c:pt idx="222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0B-46F6-8F80-3F1CAA384018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I$122:$I$344</c:f>
              <c:numCache>
                <c:formatCode>0</c:formatCode>
                <c:ptCount val="22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  <c:pt idx="188" formatCode="General">
                  <c:v>50</c:v>
                </c:pt>
                <c:pt idx="189" formatCode="General">
                  <c:v>50</c:v>
                </c:pt>
                <c:pt idx="190" formatCode="General">
                  <c:v>50</c:v>
                </c:pt>
                <c:pt idx="191" formatCode="General">
                  <c:v>50</c:v>
                </c:pt>
                <c:pt idx="192" formatCode="General">
                  <c:v>50</c:v>
                </c:pt>
                <c:pt idx="193" formatCode="General">
                  <c:v>50</c:v>
                </c:pt>
                <c:pt idx="194" formatCode="General">
                  <c:v>50</c:v>
                </c:pt>
                <c:pt idx="195" formatCode="General">
                  <c:v>50</c:v>
                </c:pt>
                <c:pt idx="196" formatCode="General">
                  <c:v>50</c:v>
                </c:pt>
                <c:pt idx="197" formatCode="General">
                  <c:v>50</c:v>
                </c:pt>
                <c:pt idx="198" formatCode="General">
                  <c:v>50</c:v>
                </c:pt>
                <c:pt idx="199" formatCode="General">
                  <c:v>50</c:v>
                </c:pt>
                <c:pt idx="200" formatCode="General">
                  <c:v>50</c:v>
                </c:pt>
                <c:pt idx="201" formatCode="General">
                  <c:v>50</c:v>
                </c:pt>
                <c:pt idx="202" formatCode="General">
                  <c:v>50</c:v>
                </c:pt>
                <c:pt idx="203" formatCode="General">
                  <c:v>50</c:v>
                </c:pt>
                <c:pt idx="204" formatCode="General">
                  <c:v>50</c:v>
                </c:pt>
                <c:pt idx="205" formatCode="General">
                  <c:v>50</c:v>
                </c:pt>
                <c:pt idx="206" formatCode="General">
                  <c:v>50</c:v>
                </c:pt>
                <c:pt idx="207" formatCode="General">
                  <c:v>50</c:v>
                </c:pt>
                <c:pt idx="208" formatCode="General">
                  <c:v>50</c:v>
                </c:pt>
                <c:pt idx="209" formatCode="General">
                  <c:v>50</c:v>
                </c:pt>
                <c:pt idx="210" formatCode="General">
                  <c:v>50</c:v>
                </c:pt>
                <c:pt idx="211" formatCode="General">
                  <c:v>50</c:v>
                </c:pt>
                <c:pt idx="212" formatCode="General">
                  <c:v>50</c:v>
                </c:pt>
                <c:pt idx="213" formatCode="General">
                  <c:v>50</c:v>
                </c:pt>
                <c:pt idx="214" formatCode="General">
                  <c:v>50</c:v>
                </c:pt>
                <c:pt idx="215" formatCode="General">
                  <c:v>50</c:v>
                </c:pt>
                <c:pt idx="216" formatCode="General">
                  <c:v>50</c:v>
                </c:pt>
                <c:pt idx="217" formatCode="General">
                  <c:v>50</c:v>
                </c:pt>
                <c:pt idx="218" formatCode="General">
                  <c:v>50</c:v>
                </c:pt>
                <c:pt idx="219" formatCode="General">
                  <c:v>50</c:v>
                </c:pt>
                <c:pt idx="220" formatCode="General">
                  <c:v>50</c:v>
                </c:pt>
                <c:pt idx="221" formatCode="General">
                  <c:v>50</c:v>
                </c:pt>
                <c:pt idx="222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0B-46F6-8F80-3F1CAA3840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B$122:$B$344</c:f>
              <c:numCache>
                <c:formatCode>0</c:formatCode>
                <c:ptCount val="223"/>
                <c:pt idx="0">
                  <c:v>24.67943918275083</c:v>
                </c:pt>
                <c:pt idx="1">
                  <c:v>23.173575097023662</c:v>
                </c:pt>
                <c:pt idx="2">
                  <c:v>20.329165157316783</c:v>
                </c:pt>
                <c:pt idx="3">
                  <c:v>20.831119852559176</c:v>
                </c:pt>
                <c:pt idx="4">
                  <c:v>19.994528693821859</c:v>
                </c:pt>
                <c:pt idx="5">
                  <c:v>19.659892230326932</c:v>
                </c:pt>
                <c:pt idx="6">
                  <c:v>16.731823174746324</c:v>
                </c:pt>
                <c:pt idx="7">
                  <c:v>16.313527595377668</c:v>
                </c:pt>
                <c:pt idx="8">
                  <c:v>14.222049698534375</c:v>
                </c:pt>
                <c:pt idx="9">
                  <c:v>13.218140308049596</c:v>
                </c:pt>
                <c:pt idx="10">
                  <c:v>11.795935338196159</c:v>
                </c:pt>
                <c:pt idx="11">
                  <c:v>11.377639758827501</c:v>
                </c:pt>
                <c:pt idx="12">
                  <c:v>11.544957990574964</c:v>
                </c:pt>
                <c:pt idx="13">
                  <c:v>10.457389484216453</c:v>
                </c:pt>
                <c:pt idx="14">
                  <c:v>8.449570703246895</c:v>
                </c:pt>
                <c:pt idx="15">
                  <c:v>8.0312751238782365</c:v>
                </c:pt>
                <c:pt idx="16">
                  <c:v>6.9437066175197248</c:v>
                </c:pt>
                <c:pt idx="17">
                  <c:v>6.9437066175197248</c:v>
                </c:pt>
                <c:pt idx="18">
                  <c:v>5.9397972270349451</c:v>
                </c:pt>
                <c:pt idx="19">
                  <c:v>5.7724789952874822</c:v>
                </c:pt>
                <c:pt idx="20">
                  <c:v>5.6051607635400194</c:v>
                </c:pt>
                <c:pt idx="21">
                  <c:v>5.6051607635400194</c:v>
                </c:pt>
                <c:pt idx="22">
                  <c:v>5.1868651841713609</c:v>
                </c:pt>
                <c:pt idx="23">
                  <c:v>5.3541834159188237</c:v>
                </c:pt>
                <c:pt idx="24">
                  <c:v>4.6012513730552396</c:v>
                </c:pt>
                <c:pt idx="25">
                  <c:v>4.9358878365501653</c:v>
                </c:pt>
                <c:pt idx="26">
                  <c:v>5.019546952423898</c:v>
                </c:pt>
                <c:pt idx="27">
                  <c:v>5.3541834159188237</c:v>
                </c:pt>
                <c:pt idx="28">
                  <c:v>5.2705243000450919</c:v>
                </c:pt>
                <c:pt idx="29">
                  <c:v>4.8522287206764343</c:v>
                </c:pt>
                <c:pt idx="30">
                  <c:v>4.8522287206764343</c:v>
                </c:pt>
                <c:pt idx="31">
                  <c:v>4.6012513730552396</c:v>
                </c:pt>
                <c:pt idx="32">
                  <c:v>5.1868651841713609</c:v>
                </c:pt>
                <c:pt idx="33">
                  <c:v>5.019546952423898</c:v>
                </c:pt>
                <c:pt idx="34">
                  <c:v>4.266614909560313</c:v>
                </c:pt>
                <c:pt idx="35">
                  <c:v>3.5973419825704598</c:v>
                </c:pt>
                <c:pt idx="36">
                  <c:v>4.266614909560313</c:v>
                </c:pt>
                <c:pt idx="37">
                  <c:v>4.350274025434044</c:v>
                </c:pt>
                <c:pt idx="38">
                  <c:v>5.1868651841713609</c:v>
                </c:pt>
                <c:pt idx="39">
                  <c:v>4.6849104889289706</c:v>
                </c:pt>
                <c:pt idx="40">
                  <c:v>4.5175922571815077</c:v>
                </c:pt>
                <c:pt idx="41">
                  <c:v>5.1868651841713609</c:v>
                </c:pt>
                <c:pt idx="42">
                  <c:v>5.6888198794137503</c:v>
                </c:pt>
                <c:pt idx="43">
                  <c:v>6.2744336905298708</c:v>
                </c:pt>
                <c:pt idx="44">
                  <c:v>6.5254110381510664</c:v>
                </c:pt>
                <c:pt idx="45">
                  <c:v>6.1071154587824079</c:v>
                </c:pt>
                <c:pt idx="46">
                  <c:v>6.2744336905298708</c:v>
                </c:pt>
                <c:pt idx="47">
                  <c:v>6.2744336905298708</c:v>
                </c:pt>
                <c:pt idx="48">
                  <c:v>6.4417519222773354</c:v>
                </c:pt>
                <c:pt idx="49">
                  <c:v>6.8600475016459939</c:v>
                </c:pt>
                <c:pt idx="50">
                  <c:v>6.3580928064036035</c:v>
                </c:pt>
                <c:pt idx="51">
                  <c:v>7.0273657333934567</c:v>
                </c:pt>
                <c:pt idx="52">
                  <c:v>6.8600475016459939</c:v>
                </c:pt>
                <c:pt idx="53">
                  <c:v>7.612979544509578</c:v>
                </c:pt>
                <c:pt idx="54">
                  <c:v>8.1985933556256985</c:v>
                </c:pt>
                <c:pt idx="55">
                  <c:v>8.3659115873731622</c:v>
                </c:pt>
                <c:pt idx="56">
                  <c:v>8.9515253984892844</c:v>
                </c:pt>
                <c:pt idx="57">
                  <c:v>9.0351845143630154</c:v>
                </c:pt>
                <c:pt idx="58">
                  <c:v>8.2822524714994294</c:v>
                </c:pt>
                <c:pt idx="59">
                  <c:v>8.7005480508680879</c:v>
                </c:pt>
                <c:pt idx="60">
                  <c:v>7.8639568921307736</c:v>
                </c:pt>
                <c:pt idx="61">
                  <c:v>7.4456613127621152</c:v>
                </c:pt>
                <c:pt idx="62">
                  <c:v>7.1946839651409196</c:v>
                </c:pt>
                <c:pt idx="63">
                  <c:v>7.2783430810146506</c:v>
                </c:pt>
                <c:pt idx="64">
                  <c:v>8.3659115873731622</c:v>
                </c:pt>
                <c:pt idx="65">
                  <c:v>9.0351845143630154</c:v>
                </c:pt>
                <c:pt idx="66">
                  <c:v>9.4534800937316739</c:v>
                </c:pt>
                <c:pt idx="67">
                  <c:v>9.7044574413528686</c:v>
                </c:pt>
                <c:pt idx="68">
                  <c:v>9.8717756731003306</c:v>
                </c:pt>
                <c:pt idx="69">
                  <c:v>10.290071252468989</c:v>
                </c:pt>
                <c:pt idx="70">
                  <c:v>9.4534800937316739</c:v>
                </c:pt>
                <c:pt idx="71">
                  <c:v>9.3698209778579411</c:v>
                </c:pt>
                <c:pt idx="72">
                  <c:v>8.7842071667418207</c:v>
                </c:pt>
                <c:pt idx="73">
                  <c:v>8.8678662826155517</c:v>
                </c:pt>
                <c:pt idx="74">
                  <c:v>9.2025027461104791</c:v>
                </c:pt>
                <c:pt idx="75">
                  <c:v>8.7842071667418207</c:v>
                </c:pt>
                <c:pt idx="76">
                  <c:v>8.7842071667418207</c:v>
                </c:pt>
                <c:pt idx="77">
                  <c:v>9.9554347889740633</c:v>
                </c:pt>
                <c:pt idx="78">
                  <c:v>9.2025027461104791</c:v>
                </c:pt>
                <c:pt idx="79">
                  <c:v>9.0351845143630154</c:v>
                </c:pt>
                <c:pt idx="80">
                  <c:v>8.5332298191206259</c:v>
                </c:pt>
                <c:pt idx="81">
                  <c:v>8.0312751238782365</c:v>
                </c:pt>
                <c:pt idx="82">
                  <c:v>8.6168889349943569</c:v>
                </c:pt>
                <c:pt idx="83">
                  <c:v>9.7881165572265996</c:v>
                </c:pt>
                <c:pt idx="84">
                  <c:v>9.7881165572265996</c:v>
                </c:pt>
                <c:pt idx="85">
                  <c:v>10.290071252468989</c:v>
                </c:pt>
                <c:pt idx="86">
                  <c:v>11.712276222322426</c:v>
                </c:pt>
                <c:pt idx="87">
                  <c:v>11.963253569943623</c:v>
                </c:pt>
                <c:pt idx="88">
                  <c:v>12.214230917564816</c:v>
                </c:pt>
                <c:pt idx="89">
                  <c:v>11.795935338196159</c:v>
                </c:pt>
                <c:pt idx="90">
                  <c:v>10.541048600090184</c:v>
                </c:pt>
                <c:pt idx="91">
                  <c:v>10.541048600090184</c:v>
                </c:pt>
                <c:pt idx="92">
                  <c:v>12.046912685817354</c:v>
                </c:pt>
                <c:pt idx="93">
                  <c:v>12.381549149312281</c:v>
                </c:pt>
                <c:pt idx="94">
                  <c:v>13.720095003291988</c:v>
                </c:pt>
                <c:pt idx="95">
                  <c:v>15.142299973145423</c:v>
                </c:pt>
                <c:pt idx="96">
                  <c:v>16.648164058872592</c:v>
                </c:pt>
                <c:pt idx="97">
                  <c:v>19.743551346200661</c:v>
                </c:pt>
                <c:pt idx="98">
                  <c:v>21.500392779549028</c:v>
                </c:pt>
                <c:pt idx="99">
                  <c:v>20.663801620811711</c:v>
                </c:pt>
                <c:pt idx="100">
                  <c:v>22.002347474791417</c:v>
                </c:pt>
                <c:pt idx="101">
                  <c:v>23.340893328771124</c:v>
                </c:pt>
                <c:pt idx="102">
                  <c:v>23.006256865276196</c:v>
                </c:pt>
                <c:pt idx="103">
                  <c:v>22.336983938286345</c:v>
                </c:pt>
                <c:pt idx="104">
                  <c:v>22.253324822412612</c:v>
                </c:pt>
                <c:pt idx="105">
                  <c:v>23.006256865276196</c:v>
                </c:pt>
                <c:pt idx="106">
                  <c:v>25.014075646245754</c:v>
                </c:pt>
                <c:pt idx="107">
                  <c:v>26.519939731972922</c:v>
                </c:pt>
                <c:pt idx="108">
                  <c:v>26.854576195467853</c:v>
                </c:pt>
                <c:pt idx="109">
                  <c:v>27.607508238331434</c:v>
                </c:pt>
                <c:pt idx="110">
                  <c:v>27.858485585952632</c:v>
                </c:pt>
                <c:pt idx="111">
                  <c:v>27.189212658962777</c:v>
                </c:pt>
                <c:pt idx="112">
                  <c:v>26.603598847846659</c:v>
                </c:pt>
                <c:pt idx="113">
                  <c:v>25.850666804983071</c:v>
                </c:pt>
                <c:pt idx="114">
                  <c:v>24.763098298624563</c:v>
                </c:pt>
                <c:pt idx="115">
                  <c:v>25.683348573235605</c:v>
                </c:pt>
                <c:pt idx="116">
                  <c:v>27.021894427215315</c:v>
                </c:pt>
                <c:pt idx="117">
                  <c:v>28.444099397068751</c:v>
                </c:pt>
                <c:pt idx="118">
                  <c:v>32.794373422502794</c:v>
                </c:pt>
                <c:pt idx="119">
                  <c:v>32.87803253837653</c:v>
                </c:pt>
                <c:pt idx="120">
                  <c:v>39.152466228906398</c:v>
                </c:pt>
                <c:pt idx="121">
                  <c:v>45.761536382931197</c:v>
                </c:pt>
                <c:pt idx="122">
                  <c:v>46.681786657542247</c:v>
                </c:pt>
                <c:pt idx="123">
                  <c:v>49.107901017880458</c:v>
                </c:pt>
                <c:pt idx="124">
                  <c:v>49.442537481375389</c:v>
                </c:pt>
                <c:pt idx="125">
                  <c:v>50.530105987733897</c:v>
                </c:pt>
                <c:pt idx="126">
                  <c:v>56.637221446516307</c:v>
                </c:pt>
                <c:pt idx="127">
                  <c:v>57.390153489379891</c:v>
                </c:pt>
                <c:pt idx="128">
                  <c:v>55.38233470841034</c:v>
                </c:pt>
                <c:pt idx="129">
                  <c:v>61.071154587824083</c:v>
                </c:pt>
                <c:pt idx="130">
                  <c:v>59.899926965591838</c:v>
                </c:pt>
                <c:pt idx="131">
                  <c:v>60.318222544960499</c:v>
                </c:pt>
                <c:pt idx="132">
                  <c:v>66.425338003742908</c:v>
                </c:pt>
                <c:pt idx="133">
                  <c:v>69.604384406944703</c:v>
                </c:pt>
                <c:pt idx="134">
                  <c:v>71.779521419661734</c:v>
                </c:pt>
                <c:pt idx="135">
                  <c:v>80.312751238782369</c:v>
                </c:pt>
                <c:pt idx="136">
                  <c:v>82.906183830868031</c:v>
                </c:pt>
                <c:pt idx="137">
                  <c:v>89.68257221664031</c:v>
                </c:pt>
                <c:pt idx="138">
                  <c:v>96.291642370665102</c:v>
                </c:pt>
                <c:pt idx="139">
                  <c:v>108.42221417235618</c:v>
                </c:pt>
                <c:pt idx="140">
                  <c:v>124.5684235359864</c:v>
                </c:pt>
                <c:pt idx="141">
                  <c:v>146.06881631553543</c:v>
                </c:pt>
                <c:pt idx="142">
                  <c:v>167.06725439984206</c:v>
                </c:pt>
                <c:pt idx="143">
                  <c:v>203.54262892078901</c:v>
                </c:pt>
                <c:pt idx="144">
                  <c:v>219.18688358917686</c:v>
                </c:pt>
                <c:pt idx="145">
                  <c:v>232.99063770834258</c:v>
                </c:pt>
                <c:pt idx="146">
                  <c:v>263.27523765463343</c:v>
                </c:pt>
                <c:pt idx="147">
                  <c:v>301.25647626130757</c:v>
                </c:pt>
                <c:pt idx="148">
                  <c:v>337.31355520288588</c:v>
                </c:pt>
                <c:pt idx="149">
                  <c:v>346.93435352836502</c:v>
                </c:pt>
                <c:pt idx="150">
                  <c:v>373.70527060795916</c:v>
                </c:pt>
                <c:pt idx="151">
                  <c:v>410.01332689715872</c:v>
                </c:pt>
                <c:pt idx="152">
                  <c:v>421.80926223535488</c:v>
                </c:pt>
                <c:pt idx="153">
                  <c:v>473.00864115007863</c:v>
                </c:pt>
                <c:pt idx="154">
                  <c:v>531.82099960931191</c:v>
                </c:pt>
                <c:pt idx="155">
                  <c:v>574.57080782078879</c:v>
                </c:pt>
                <c:pt idx="156">
                  <c:v>619.83038950847754</c:v>
                </c:pt>
                <c:pt idx="157">
                  <c:v>660.73969717073237</c:v>
                </c:pt>
                <c:pt idx="158">
                  <c:v>652.95939939447533</c:v>
                </c:pt>
                <c:pt idx="159">
                  <c:v>656.05478668180342</c:v>
                </c:pt>
                <c:pt idx="160">
                  <c:v>677.13688388198375</c:v>
                </c:pt>
                <c:pt idx="161">
                  <c:v>725.07355727763195</c:v>
                </c:pt>
                <c:pt idx="162">
                  <c:v>784.13689308448647</c:v>
                </c:pt>
                <c:pt idx="163">
                  <c:v>816.2619935799994</c:v>
                </c:pt>
                <c:pt idx="164">
                  <c:v>878.08608021068721</c:v>
                </c:pt>
                <c:pt idx="165">
                  <c:v>913.55754534114942</c:v>
                </c:pt>
                <c:pt idx="166">
                  <c:v>941.91798562234442</c:v>
                </c:pt>
                <c:pt idx="167">
                  <c:v>970.44574413528687</c:v>
                </c:pt>
                <c:pt idx="168">
                  <c:v>1082.6326185219609</c:v>
                </c:pt>
                <c:pt idx="169">
                  <c:v>1043.5638114089281</c:v>
                </c:pt>
                <c:pt idx="170">
                  <c:v>1084.8077555346781</c:v>
                </c:pt>
                <c:pt idx="171">
                  <c:v>1193.0626514752867</c:v>
                </c:pt>
                <c:pt idx="172">
                  <c:v>1233.1353679788042</c:v>
                </c:pt>
                <c:pt idx="173">
                  <c:v>1244.5966668535052</c:v>
                </c:pt>
                <c:pt idx="174">
                  <c:v>1257.8984662774287</c:v>
                </c:pt>
                <c:pt idx="175">
                  <c:v>1266.0134005171808</c:v>
                </c:pt>
                <c:pt idx="176">
                  <c:v>1324.4074633970454</c:v>
                </c:pt>
                <c:pt idx="177">
                  <c:v>1474.8265537380148</c:v>
                </c:pt>
                <c:pt idx="178">
                  <c:v>1419.1932416819834</c:v>
                </c:pt>
                <c:pt idx="179">
                  <c:v>1389.9962102420509</c:v>
                </c:pt>
                <c:pt idx="180">
                  <c:v>1419.025923450236</c:v>
                </c:pt>
                <c:pt idx="181">
                  <c:v>1469.2213929744748</c:v>
                </c:pt>
                <c:pt idx="182">
                  <c:v>1406.2260787215548</c:v>
                </c:pt>
                <c:pt idx="183">
                  <c:v>1466.1260056871467</c:v>
                </c:pt>
                <c:pt idx="184">
                  <c:v>1356.6998821243058</c:v>
                </c:pt>
                <c:pt idx="185">
                  <c:v>1295.2940910729867</c:v>
                </c:pt>
                <c:pt idx="186">
                  <c:v>1294.8757954936179</c:v>
                </c:pt>
                <c:pt idx="187">
                  <c:v>1251.289396123404</c:v>
                </c:pt>
                <c:pt idx="188">
                  <c:v>1191.724105621307</c:v>
                </c:pt>
                <c:pt idx="189">
                  <c:v>1165.95709793219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0B-46F6-8F80-3F1CAA3840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C$122:$C$344</c:f>
              <c:numCache>
                <c:formatCode>General</c:formatCode>
                <c:ptCount val="22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C0B-46F6-8F80-3F1CAA38401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D$122:$D$344</c:f>
              <c:numCache>
                <c:formatCode>General</c:formatCode>
                <c:ptCount val="223"/>
                <c:pt idx="185" formatCode="0">
                  <c:v>1394.1791660357376</c:v>
                </c:pt>
                <c:pt idx="186" formatCode="0">
                  <c:v>1376.6944108181276</c:v>
                </c:pt>
                <c:pt idx="187" formatCode="0">
                  <c:v>1356.5325638925583</c:v>
                </c:pt>
                <c:pt idx="188">
                  <c:v>1337.0399898939788</c:v>
                </c:pt>
                <c:pt idx="189">
                  <c:v>1319.0532799811265</c:v>
                </c:pt>
                <c:pt idx="190">
                  <c:v>1297.8875236650724</c:v>
                </c:pt>
                <c:pt idx="191">
                  <c:v>1271.7022203965944</c:v>
                </c:pt>
                <c:pt idx="192">
                  <c:v>1247.4410767932122</c:v>
                </c:pt>
                <c:pt idx="193">
                  <c:v>1225.355070202547</c:v>
                </c:pt>
                <c:pt idx="194">
                  <c:v>1204.6076094658617</c:v>
                </c:pt>
                <c:pt idx="195">
                  <c:v>1183.6928304974288</c:v>
                </c:pt>
                <c:pt idx="196">
                  <c:v>1162.4434150655009</c:v>
                </c:pt>
                <c:pt idx="197">
                  <c:v>1140.7757040542044</c:v>
                </c:pt>
                <c:pt idx="198">
                  <c:v>1119.4426295064029</c:v>
                </c:pt>
                <c:pt idx="199">
                  <c:v>1099.4481008125808</c:v>
                </c:pt>
                <c:pt idx="200">
                  <c:v>1080.2065041616227</c:v>
                </c:pt>
                <c:pt idx="201">
                  <c:v>1061.1322257424119</c:v>
                </c:pt>
                <c:pt idx="202">
                  <c:v>1041.9742882073274</c:v>
                </c:pt>
                <c:pt idx="203">
                  <c:v>1023.0673280198639</c:v>
                </c:pt>
                <c:pt idx="204">
                  <c:v>1004.4950042958956</c:v>
                </c:pt>
                <c:pt idx="205">
                  <c:v>986.50829438304334</c:v>
                </c:pt>
                <c:pt idx="206">
                  <c:v>969.10719828130709</c:v>
                </c:pt>
                <c:pt idx="207">
                  <c:v>951.87342041131842</c:v>
                </c:pt>
                <c:pt idx="208">
                  <c:v>934.80696077307709</c:v>
                </c:pt>
                <c:pt idx="209">
                  <c:v>918.0751375983308</c:v>
                </c:pt>
                <c:pt idx="210">
                  <c:v>901.67795088707931</c:v>
                </c:pt>
                <c:pt idx="211">
                  <c:v>885.69905975519669</c:v>
                </c:pt>
                <c:pt idx="212">
                  <c:v>870.05480508680887</c:v>
                </c:pt>
                <c:pt idx="213">
                  <c:v>854.57786865016863</c:v>
                </c:pt>
                <c:pt idx="214">
                  <c:v>839.43556867702318</c:v>
                </c:pt>
                <c:pt idx="215">
                  <c:v>824.54424605149893</c:v>
                </c:pt>
                <c:pt idx="216">
                  <c:v>809.90390077359586</c:v>
                </c:pt>
                <c:pt idx="217">
                  <c:v>795.59819195918772</c:v>
                </c:pt>
                <c:pt idx="218">
                  <c:v>781.62711960827448</c:v>
                </c:pt>
                <c:pt idx="219">
                  <c:v>767.90702460498255</c:v>
                </c:pt>
                <c:pt idx="220">
                  <c:v>754.4379069493117</c:v>
                </c:pt>
                <c:pt idx="221">
                  <c:v>741.21976664126214</c:v>
                </c:pt>
                <c:pt idx="222">
                  <c:v>728.252603680833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C0B-46F6-8F80-3F1CAA38401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E$122:$E$344</c:f>
              <c:numCache>
                <c:formatCode>General</c:formatCode>
                <c:ptCount val="223"/>
                <c:pt idx="185" formatCode="0">
                  <c:v>1398.5294400611717</c:v>
                </c:pt>
                <c:pt idx="186" formatCode="0">
                  <c:v>1387.7374141134601</c:v>
                </c:pt>
                <c:pt idx="187" formatCode="0">
                  <c:v>1375.606842311769</c:v>
                </c:pt>
                <c:pt idx="188">
                  <c:v>1364.8984754799314</c:v>
                </c:pt>
                <c:pt idx="189">
                  <c:v>1357.1181777036743</c:v>
                </c:pt>
                <c:pt idx="190">
                  <c:v>1347.9156749575639</c:v>
                </c:pt>
                <c:pt idx="191">
                  <c:v>1335.5341258082517</c:v>
                </c:pt>
                <c:pt idx="192">
                  <c:v>1322.7342810795706</c:v>
                </c:pt>
                <c:pt idx="193">
                  <c:v>1310.9383457413744</c:v>
                </c:pt>
                <c:pt idx="194">
                  <c:v>1300.3136380254107</c:v>
                </c:pt>
                <c:pt idx="195">
                  <c:v>1290.1072258888153</c:v>
                </c:pt>
                <c:pt idx="196">
                  <c:v>1279.649836404599</c:v>
                </c:pt>
                <c:pt idx="197">
                  <c:v>1268.4395148775188</c:v>
                </c:pt>
                <c:pt idx="198">
                  <c:v>1257.0618751186914</c:v>
                </c:pt>
                <c:pt idx="199">
                  <c:v>1246.1861900551062</c:v>
                </c:pt>
                <c:pt idx="200">
                  <c:v>1235.979777918511</c:v>
                </c:pt>
                <c:pt idx="201">
                  <c:v>1225.9406840136633</c:v>
                </c:pt>
                <c:pt idx="202">
                  <c:v>1215.6506127611942</c:v>
                </c:pt>
                <c:pt idx="203">
                  <c:v>1205.2768823928513</c:v>
                </c:pt>
                <c:pt idx="204">
                  <c:v>1194.9031520245087</c:v>
                </c:pt>
                <c:pt idx="205">
                  <c:v>1184.7803990037871</c:v>
                </c:pt>
                <c:pt idx="206">
                  <c:v>1174.9922824465607</c:v>
                </c:pt>
                <c:pt idx="207">
                  <c:v>1165.2878250052079</c:v>
                </c:pt>
                <c:pt idx="208">
                  <c:v>1155.4997084479812</c:v>
                </c:pt>
                <c:pt idx="209">
                  <c:v>1145.7115918907546</c:v>
                </c:pt>
                <c:pt idx="210">
                  <c:v>1136.0071344494017</c:v>
                </c:pt>
                <c:pt idx="211">
                  <c:v>1126.4699952397964</c:v>
                </c:pt>
                <c:pt idx="212">
                  <c:v>1117.1001742619385</c:v>
                </c:pt>
                <c:pt idx="213">
                  <c:v>1107.7303532840804</c:v>
                </c:pt>
                <c:pt idx="214">
                  <c:v>1098.4441914220963</c:v>
                </c:pt>
                <c:pt idx="215">
                  <c:v>1089.2416886759856</c:v>
                </c:pt>
                <c:pt idx="216">
                  <c:v>1080.2065041616227</c:v>
                </c:pt>
                <c:pt idx="217">
                  <c:v>1071.2549787631335</c:v>
                </c:pt>
                <c:pt idx="218">
                  <c:v>1062.3871124805178</c:v>
                </c:pt>
                <c:pt idx="219">
                  <c:v>1053.5192461979022</c:v>
                </c:pt>
                <c:pt idx="220">
                  <c:v>1044.8186981470342</c:v>
                </c:pt>
                <c:pt idx="221">
                  <c:v>1036.1181500961661</c:v>
                </c:pt>
                <c:pt idx="222">
                  <c:v>1027.50126116117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C0B-46F6-8F80-3F1CAA38401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F$122:$F$344</c:f>
              <c:numCache>
                <c:formatCode>General</c:formatCode>
                <c:ptCount val="223"/>
                <c:pt idx="185" formatCode="0">
                  <c:v>1407.1463289961657</c:v>
                </c:pt>
                <c:pt idx="186" formatCode="0">
                  <c:v>1409.7397615882517</c:v>
                </c:pt>
                <c:pt idx="187" formatCode="0">
                  <c:v>1413.5880809184432</c:v>
                </c:pt>
                <c:pt idx="188">
                  <c:v>1420.4481284200892</c:v>
                </c:pt>
                <c:pt idx="189">
                  <c:v>1433.331632264644</c:v>
                </c:pt>
                <c:pt idx="190">
                  <c:v>1448.8085687012842</c:v>
                </c:pt>
                <c:pt idx="191">
                  <c:v>1465.5403918760308</c:v>
                </c:pt>
                <c:pt idx="192">
                  <c:v>1477.7546227935954</c:v>
                </c:pt>
                <c:pt idx="193">
                  <c:v>1489.3832399000441</c:v>
                </c:pt>
                <c:pt idx="194">
                  <c:v>1502.3504028604725</c:v>
                </c:pt>
                <c:pt idx="195">
                  <c:v>1517.4927028336178</c:v>
                </c:pt>
                <c:pt idx="196">
                  <c:v>1533.4715939655007</c:v>
                </c:pt>
                <c:pt idx="197">
                  <c:v>1548.6975530545199</c:v>
                </c:pt>
                <c:pt idx="198">
                  <c:v>1563.0032618689279</c:v>
                </c:pt>
                <c:pt idx="199">
                  <c:v>1576.8070159880938</c:v>
                </c:pt>
                <c:pt idx="200">
                  <c:v>1591.4473612659967</c:v>
                </c:pt>
                <c:pt idx="201">
                  <c:v>1607.0916159343844</c:v>
                </c:pt>
                <c:pt idx="202">
                  <c:v>1623.0705070662671</c:v>
                </c:pt>
                <c:pt idx="203">
                  <c:v>1638.6311026187814</c:v>
                </c:pt>
                <c:pt idx="204">
                  <c:v>1653.8570617078005</c:v>
                </c:pt>
                <c:pt idx="205">
                  <c:v>1669.2503390285669</c:v>
                </c:pt>
                <c:pt idx="206">
                  <c:v>1685.0619119287021</c:v>
                </c:pt>
                <c:pt idx="207">
                  <c:v>1701.3754395240801</c:v>
                </c:pt>
                <c:pt idx="208">
                  <c:v>1717.7726262353312</c:v>
                </c:pt>
                <c:pt idx="209">
                  <c:v>1734.0861538307092</c:v>
                </c:pt>
                <c:pt idx="210">
                  <c:v>1750.3996814260868</c:v>
                </c:pt>
                <c:pt idx="211">
                  <c:v>1766.8805272532118</c:v>
                </c:pt>
                <c:pt idx="212">
                  <c:v>1783.6123504279583</c:v>
                </c:pt>
                <c:pt idx="213">
                  <c:v>1800.5951509503259</c:v>
                </c:pt>
                <c:pt idx="214">
                  <c:v>1817.7452697044409</c:v>
                </c:pt>
                <c:pt idx="215">
                  <c:v>1834.9790475744296</c:v>
                </c:pt>
                <c:pt idx="216">
                  <c:v>1852.2964845602921</c:v>
                </c:pt>
                <c:pt idx="217">
                  <c:v>1869.6975806620283</c:v>
                </c:pt>
                <c:pt idx="218">
                  <c:v>1887.3496541113855</c:v>
                </c:pt>
                <c:pt idx="219">
                  <c:v>1905.252704908364</c:v>
                </c:pt>
                <c:pt idx="220">
                  <c:v>1923.2394148212161</c:v>
                </c:pt>
                <c:pt idx="221">
                  <c:v>1941.3097838499423</c:v>
                </c:pt>
                <c:pt idx="222">
                  <c:v>1959.5474711104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5C0B-46F6-8F80-3F1CAA38401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G$122:$G$344</c:f>
              <c:numCache>
                <c:formatCode>General</c:formatCode>
                <c:ptCount val="223"/>
                <c:pt idx="185" formatCode="0">
                  <c:v>1411.4129439057263</c:v>
                </c:pt>
                <c:pt idx="186" formatCode="0">
                  <c:v>1420.6991057677105</c:v>
                </c:pt>
                <c:pt idx="187" formatCode="0">
                  <c:v>1432.5787002217803</c:v>
                </c:pt>
                <c:pt idx="188">
                  <c:v>1448.2229548901682</c:v>
                </c:pt>
                <c:pt idx="189">
                  <c:v>1471.6475073348129</c:v>
                </c:pt>
                <c:pt idx="190">
                  <c:v>1499.8406293842606</c:v>
                </c:pt>
                <c:pt idx="191">
                  <c:v>1531.7984116480261</c:v>
                </c:pt>
                <c:pt idx="192">
                  <c:v>1557.649078453009</c:v>
                </c:pt>
                <c:pt idx="193">
                  <c:v>1582.2448585198861</c:v>
                </c:pt>
                <c:pt idx="194">
                  <c:v>1608.6811391359854</c:v>
                </c:pt>
                <c:pt idx="195">
                  <c:v>1638.6311026187814</c:v>
                </c:pt>
                <c:pt idx="196">
                  <c:v>1670.2542484190519</c:v>
                </c:pt>
                <c:pt idx="197">
                  <c:v>1701.6264168717012</c:v>
                </c:pt>
                <c:pt idx="198">
                  <c:v>1732.0783350497395</c:v>
                </c:pt>
                <c:pt idx="199">
                  <c:v>1761.6936620690406</c:v>
                </c:pt>
                <c:pt idx="200">
                  <c:v>1792.8148531740687</c:v>
                </c:pt>
                <c:pt idx="201">
                  <c:v>1825.6928857124453</c:v>
                </c:pt>
                <c:pt idx="202">
                  <c:v>1859.6584867571803</c:v>
                </c:pt>
                <c:pt idx="203">
                  <c:v>1893.456769570168</c:v>
                </c:pt>
                <c:pt idx="204">
                  <c:v>1927.0877341514079</c:v>
                </c:pt>
                <c:pt idx="205">
                  <c:v>1961.2206534278905</c:v>
                </c:pt>
                <c:pt idx="206">
                  <c:v>1996.3574820948577</c:v>
                </c:pt>
                <c:pt idx="207">
                  <c:v>2032.5818792681837</c:v>
                </c:pt>
                <c:pt idx="208">
                  <c:v>2069.5592084843729</c:v>
                </c:pt>
                <c:pt idx="209">
                  <c:v>2106.8711741640573</c:v>
                </c:pt>
                <c:pt idx="210">
                  <c:v>2144.5177763072365</c:v>
                </c:pt>
                <c:pt idx="211">
                  <c:v>2182.8336513774057</c:v>
                </c:pt>
                <c:pt idx="212">
                  <c:v>2221.9861176063118</c:v>
                </c:pt>
                <c:pt idx="213">
                  <c:v>2261.9751749939555</c:v>
                </c:pt>
                <c:pt idx="214">
                  <c:v>2302.7171644244627</c:v>
                </c:pt>
                <c:pt idx="215">
                  <c:v>2344.044767666086</c:v>
                </c:pt>
                <c:pt idx="216">
                  <c:v>2385.9579847188261</c:v>
                </c:pt>
                <c:pt idx="217">
                  <c:v>2428.6241338144291</c:v>
                </c:pt>
                <c:pt idx="218">
                  <c:v>2472.1268740687697</c:v>
                </c:pt>
                <c:pt idx="219">
                  <c:v>2516.4662054818473</c:v>
                </c:pt>
                <c:pt idx="220">
                  <c:v>2561.5584689377883</c:v>
                </c:pt>
                <c:pt idx="221">
                  <c:v>2607.4036644365933</c:v>
                </c:pt>
                <c:pt idx="222">
                  <c:v>2653.91813286238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5C0B-46F6-8F80-3F1CAA3840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4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B$244:$B$497</c:f>
              <c:numCache>
                <c:formatCode>0</c:formatCode>
                <c:ptCount val="254"/>
                <c:pt idx="0">
                  <c:v>31</c:v>
                </c:pt>
                <c:pt idx="1">
                  <c:v>40</c:v>
                </c:pt>
                <c:pt idx="2">
                  <c:v>180</c:v>
                </c:pt>
                <c:pt idx="3">
                  <c:v>118</c:v>
                </c:pt>
                <c:pt idx="4">
                  <c:v>117</c:v>
                </c:pt>
                <c:pt idx="5">
                  <c:v>74</c:v>
                </c:pt>
                <c:pt idx="6">
                  <c:v>72</c:v>
                </c:pt>
                <c:pt idx="7">
                  <c:v>6</c:v>
                </c:pt>
                <c:pt idx="8">
                  <c:v>29</c:v>
                </c:pt>
                <c:pt idx="9">
                  <c:v>139</c:v>
                </c:pt>
                <c:pt idx="10">
                  <c:v>96</c:v>
                </c:pt>
                <c:pt idx="11">
                  <c:v>94</c:v>
                </c:pt>
                <c:pt idx="12">
                  <c:v>65</c:v>
                </c:pt>
                <c:pt idx="13">
                  <c:v>60</c:v>
                </c:pt>
                <c:pt idx="14">
                  <c:v>19</c:v>
                </c:pt>
                <c:pt idx="15">
                  <c:v>21</c:v>
                </c:pt>
                <c:pt idx="16">
                  <c:v>103</c:v>
                </c:pt>
                <c:pt idx="17">
                  <c:v>90</c:v>
                </c:pt>
                <c:pt idx="18">
                  <c:v>82</c:v>
                </c:pt>
                <c:pt idx="19">
                  <c:v>55</c:v>
                </c:pt>
                <c:pt idx="20">
                  <c:v>47</c:v>
                </c:pt>
                <c:pt idx="21">
                  <c:v>13</c:v>
                </c:pt>
                <c:pt idx="22">
                  <c:v>29</c:v>
                </c:pt>
                <c:pt idx="23">
                  <c:v>60</c:v>
                </c:pt>
                <c:pt idx="24">
                  <c:v>62</c:v>
                </c:pt>
                <c:pt idx="25">
                  <c:v>62</c:v>
                </c:pt>
                <c:pt idx="26">
                  <c:v>36</c:v>
                </c:pt>
                <c:pt idx="27">
                  <c:v>22</c:v>
                </c:pt>
                <c:pt idx="28">
                  <c:v>21</c:v>
                </c:pt>
                <c:pt idx="29">
                  <c:v>12</c:v>
                </c:pt>
                <c:pt idx="30">
                  <c:v>39</c:v>
                </c:pt>
                <c:pt idx="31">
                  <c:v>25</c:v>
                </c:pt>
                <c:pt idx="32">
                  <c:v>17</c:v>
                </c:pt>
                <c:pt idx="33">
                  <c:v>20</c:v>
                </c:pt>
                <c:pt idx="34">
                  <c:v>13</c:v>
                </c:pt>
                <c:pt idx="35">
                  <c:v>10</c:v>
                </c:pt>
                <c:pt idx="36">
                  <c:v>6</c:v>
                </c:pt>
                <c:pt idx="37">
                  <c:v>16</c:v>
                </c:pt>
                <c:pt idx="38">
                  <c:v>21</c:v>
                </c:pt>
                <c:pt idx="39">
                  <c:v>14</c:v>
                </c:pt>
                <c:pt idx="40">
                  <c:v>8</c:v>
                </c:pt>
                <c:pt idx="41">
                  <c:v>12</c:v>
                </c:pt>
                <c:pt idx="42">
                  <c:v>2</c:v>
                </c:pt>
                <c:pt idx="43">
                  <c:v>6</c:v>
                </c:pt>
                <c:pt idx="44">
                  <c:v>9</c:v>
                </c:pt>
                <c:pt idx="45">
                  <c:v>7</c:v>
                </c:pt>
                <c:pt idx="46">
                  <c:v>4</c:v>
                </c:pt>
                <c:pt idx="47">
                  <c:v>4</c:v>
                </c:pt>
                <c:pt idx="48">
                  <c:v>6</c:v>
                </c:pt>
                <c:pt idx="49">
                  <c:v>1</c:v>
                </c:pt>
                <c:pt idx="50">
                  <c:v>1</c:v>
                </c:pt>
                <c:pt idx="51">
                  <c:v>4</c:v>
                </c:pt>
                <c:pt idx="52">
                  <c:v>0</c:v>
                </c:pt>
                <c:pt idx="53">
                  <c:v>3</c:v>
                </c:pt>
                <c:pt idx="54">
                  <c:v>3</c:v>
                </c:pt>
                <c:pt idx="55">
                  <c:v>1</c:v>
                </c:pt>
                <c:pt idx="56">
                  <c:v>1</c:v>
                </c:pt>
                <c:pt idx="57">
                  <c:v>0</c:v>
                </c:pt>
                <c:pt idx="58">
                  <c:v>0</c:v>
                </c:pt>
                <c:pt idx="59">
                  <c:v>2</c:v>
                </c:pt>
                <c:pt idx="60">
                  <c:v>2</c:v>
                </c:pt>
                <c:pt idx="61">
                  <c:v>5</c:v>
                </c:pt>
                <c:pt idx="62">
                  <c:v>0</c:v>
                </c:pt>
                <c:pt idx="63">
                  <c:v>5</c:v>
                </c:pt>
                <c:pt idx="64">
                  <c:v>0</c:v>
                </c:pt>
                <c:pt idx="65">
                  <c:v>2</c:v>
                </c:pt>
                <c:pt idx="66">
                  <c:v>2</c:v>
                </c:pt>
                <c:pt idx="67">
                  <c:v>7</c:v>
                </c:pt>
                <c:pt idx="68">
                  <c:v>12</c:v>
                </c:pt>
                <c:pt idx="69">
                  <c:v>1</c:v>
                </c:pt>
                <c:pt idx="70">
                  <c:v>2</c:v>
                </c:pt>
                <c:pt idx="71">
                  <c:v>1</c:v>
                </c:pt>
                <c:pt idx="72">
                  <c:v>4</c:v>
                </c:pt>
                <c:pt idx="73">
                  <c:v>8</c:v>
                </c:pt>
                <c:pt idx="74">
                  <c:v>3</c:v>
                </c:pt>
                <c:pt idx="75">
                  <c:v>7</c:v>
                </c:pt>
                <c:pt idx="76">
                  <c:v>10</c:v>
                </c:pt>
                <c:pt idx="77">
                  <c:v>3</c:v>
                </c:pt>
                <c:pt idx="78">
                  <c:v>1</c:v>
                </c:pt>
                <c:pt idx="79">
                  <c:v>7</c:v>
                </c:pt>
                <c:pt idx="80">
                  <c:v>6</c:v>
                </c:pt>
                <c:pt idx="81">
                  <c:v>6</c:v>
                </c:pt>
                <c:pt idx="82">
                  <c:v>4</c:v>
                </c:pt>
                <c:pt idx="83">
                  <c:v>4</c:v>
                </c:pt>
                <c:pt idx="84">
                  <c:v>3</c:v>
                </c:pt>
                <c:pt idx="85">
                  <c:v>1</c:v>
                </c:pt>
                <c:pt idx="86">
                  <c:v>3</c:v>
                </c:pt>
                <c:pt idx="87">
                  <c:v>3</c:v>
                </c:pt>
                <c:pt idx="88">
                  <c:v>3</c:v>
                </c:pt>
                <c:pt idx="89">
                  <c:v>5</c:v>
                </c:pt>
                <c:pt idx="90">
                  <c:v>5</c:v>
                </c:pt>
                <c:pt idx="91">
                  <c:v>4</c:v>
                </c:pt>
                <c:pt idx="92">
                  <c:v>1</c:v>
                </c:pt>
                <c:pt idx="93">
                  <c:v>4</c:v>
                </c:pt>
                <c:pt idx="94">
                  <c:v>12</c:v>
                </c:pt>
                <c:pt idx="95">
                  <c:v>14</c:v>
                </c:pt>
                <c:pt idx="96">
                  <c:v>8</c:v>
                </c:pt>
                <c:pt idx="97">
                  <c:v>13</c:v>
                </c:pt>
                <c:pt idx="98">
                  <c:v>14</c:v>
                </c:pt>
                <c:pt idx="99">
                  <c:v>22</c:v>
                </c:pt>
                <c:pt idx="100">
                  <c:v>9</c:v>
                </c:pt>
                <c:pt idx="101">
                  <c:v>4</c:v>
                </c:pt>
                <c:pt idx="102">
                  <c:v>10</c:v>
                </c:pt>
                <c:pt idx="103">
                  <c:v>8</c:v>
                </c:pt>
                <c:pt idx="104">
                  <c:v>5</c:v>
                </c:pt>
                <c:pt idx="105">
                  <c:v>5</c:v>
                </c:pt>
                <c:pt idx="106">
                  <c:v>1</c:v>
                </c:pt>
                <c:pt idx="107">
                  <c:v>7</c:v>
                </c:pt>
                <c:pt idx="108">
                  <c:v>14</c:v>
                </c:pt>
                <c:pt idx="109">
                  <c:v>8</c:v>
                </c:pt>
                <c:pt idx="110">
                  <c:v>4</c:v>
                </c:pt>
                <c:pt idx="111">
                  <c:v>3</c:v>
                </c:pt>
                <c:pt idx="112">
                  <c:v>5</c:v>
                </c:pt>
                <c:pt idx="113">
                  <c:v>1</c:v>
                </c:pt>
                <c:pt idx="114">
                  <c:v>2</c:v>
                </c:pt>
                <c:pt idx="115">
                  <c:v>5</c:v>
                </c:pt>
                <c:pt idx="116">
                  <c:v>5</c:v>
                </c:pt>
                <c:pt idx="117">
                  <c:v>7</c:v>
                </c:pt>
                <c:pt idx="118">
                  <c:v>8</c:v>
                </c:pt>
                <c:pt idx="119">
                  <c:v>6</c:v>
                </c:pt>
                <c:pt idx="120">
                  <c:v>2</c:v>
                </c:pt>
                <c:pt idx="121">
                  <c:v>10</c:v>
                </c:pt>
                <c:pt idx="122">
                  <c:v>17</c:v>
                </c:pt>
                <c:pt idx="123">
                  <c:v>15</c:v>
                </c:pt>
                <c:pt idx="124">
                  <c:v>9</c:v>
                </c:pt>
                <c:pt idx="125">
                  <c:v>9</c:v>
                </c:pt>
                <c:pt idx="126">
                  <c:v>4</c:v>
                </c:pt>
                <c:pt idx="127">
                  <c:v>4</c:v>
                </c:pt>
                <c:pt idx="128">
                  <c:v>9</c:v>
                </c:pt>
                <c:pt idx="129">
                  <c:v>13</c:v>
                </c:pt>
                <c:pt idx="130">
                  <c:v>17</c:v>
                </c:pt>
                <c:pt idx="131">
                  <c:v>12</c:v>
                </c:pt>
                <c:pt idx="132">
                  <c:v>9</c:v>
                </c:pt>
                <c:pt idx="133">
                  <c:v>5</c:v>
                </c:pt>
                <c:pt idx="134">
                  <c:v>7</c:v>
                </c:pt>
                <c:pt idx="135">
                  <c:v>13</c:v>
                </c:pt>
                <c:pt idx="136">
                  <c:v>20</c:v>
                </c:pt>
                <c:pt idx="137">
                  <c:v>15</c:v>
                </c:pt>
                <c:pt idx="138">
                  <c:v>23</c:v>
                </c:pt>
                <c:pt idx="139">
                  <c:v>13</c:v>
                </c:pt>
                <c:pt idx="140">
                  <c:v>30</c:v>
                </c:pt>
                <c:pt idx="141">
                  <c:v>3</c:v>
                </c:pt>
                <c:pt idx="142">
                  <c:v>7</c:v>
                </c:pt>
                <c:pt idx="143">
                  <c:v>19</c:v>
                </c:pt>
                <c:pt idx="144">
                  <c:v>13</c:v>
                </c:pt>
                <c:pt idx="145">
                  <c:v>22</c:v>
                </c:pt>
                <c:pt idx="146">
                  <c:v>17</c:v>
                </c:pt>
                <c:pt idx="147">
                  <c:v>26</c:v>
                </c:pt>
                <c:pt idx="148">
                  <c:v>11</c:v>
                </c:pt>
                <c:pt idx="149">
                  <c:v>24</c:v>
                </c:pt>
                <c:pt idx="150">
                  <c:v>28</c:v>
                </c:pt>
                <c:pt idx="151">
                  <c:v>30</c:v>
                </c:pt>
                <c:pt idx="152">
                  <c:v>61</c:v>
                </c:pt>
                <c:pt idx="153">
                  <c:v>49</c:v>
                </c:pt>
                <c:pt idx="154">
                  <c:v>29</c:v>
                </c:pt>
                <c:pt idx="155">
                  <c:v>11</c:v>
                </c:pt>
                <c:pt idx="156">
                  <c:v>48</c:v>
                </c:pt>
                <c:pt idx="157">
                  <c:v>46</c:v>
                </c:pt>
                <c:pt idx="158">
                  <c:v>84</c:v>
                </c:pt>
                <c:pt idx="159">
                  <c:v>78</c:v>
                </c:pt>
                <c:pt idx="160">
                  <c:v>46</c:v>
                </c:pt>
                <c:pt idx="161">
                  <c:v>35</c:v>
                </c:pt>
                <c:pt idx="162">
                  <c:v>12</c:v>
                </c:pt>
                <c:pt idx="163">
                  <c:v>99</c:v>
                </c:pt>
                <c:pt idx="164">
                  <c:v>123</c:v>
                </c:pt>
                <c:pt idx="165">
                  <c:v>137</c:v>
                </c:pt>
                <c:pt idx="166">
                  <c:v>151</c:v>
                </c:pt>
                <c:pt idx="167">
                  <c:v>160</c:v>
                </c:pt>
                <c:pt idx="168">
                  <c:v>125</c:v>
                </c:pt>
                <c:pt idx="169">
                  <c:v>47</c:v>
                </c:pt>
                <c:pt idx="170">
                  <c:v>191</c:v>
                </c:pt>
                <c:pt idx="171">
                  <c:v>313</c:v>
                </c:pt>
                <c:pt idx="172">
                  <c:v>239</c:v>
                </c:pt>
                <c:pt idx="173">
                  <c:v>352</c:v>
                </c:pt>
                <c:pt idx="174">
                  <c:v>416</c:v>
                </c:pt>
                <c:pt idx="175">
                  <c:v>289</c:v>
                </c:pt>
                <c:pt idx="176">
                  <c:v>134</c:v>
                </c:pt>
                <c:pt idx="177">
                  <c:v>265</c:v>
                </c:pt>
                <c:pt idx="178">
                  <c:v>594</c:v>
                </c:pt>
                <c:pt idx="179">
                  <c:v>556</c:v>
                </c:pt>
                <c:pt idx="180">
                  <c:v>319</c:v>
                </c:pt>
                <c:pt idx="181">
                  <c:v>526</c:v>
                </c:pt>
                <c:pt idx="182">
                  <c:v>373</c:v>
                </c:pt>
                <c:pt idx="183">
                  <c:v>205</c:v>
                </c:pt>
                <c:pt idx="184">
                  <c:v>723</c:v>
                </c:pt>
                <c:pt idx="185">
                  <c:v>903</c:v>
                </c:pt>
                <c:pt idx="186">
                  <c:v>940</c:v>
                </c:pt>
                <c:pt idx="187">
                  <c:v>860</c:v>
                </c:pt>
                <c:pt idx="188">
                  <c:v>952</c:v>
                </c:pt>
                <c:pt idx="189">
                  <c:v>536</c:v>
                </c:pt>
                <c:pt idx="190">
                  <c:v>286</c:v>
                </c:pt>
                <c:pt idx="191">
                  <c:v>616</c:v>
                </c:pt>
                <c:pt idx="192">
                  <c:v>1381</c:v>
                </c:pt>
                <c:pt idx="193">
                  <c:v>1226</c:v>
                </c:pt>
                <c:pt idx="194">
                  <c:v>1187</c:v>
                </c:pt>
                <c:pt idx="195">
                  <c:v>1305</c:v>
                </c:pt>
                <c:pt idx="196">
                  <c:v>691</c:v>
                </c:pt>
                <c:pt idx="197">
                  <c:v>487</c:v>
                </c:pt>
                <c:pt idx="198">
                  <c:v>819</c:v>
                </c:pt>
                <c:pt idx="199">
                  <c:v>1961</c:v>
                </c:pt>
                <c:pt idx="200">
                  <c:v>1371</c:v>
                </c:pt>
                <c:pt idx="201">
                  <c:v>1190</c:v>
                </c:pt>
                <c:pt idx="202">
                  <c:v>1893</c:v>
                </c:pt>
                <c:pt idx="203">
                  <c:v>1019</c:v>
                </c:pt>
                <c:pt idx="204">
                  <c:v>737</c:v>
                </c:pt>
                <c:pt idx="205">
                  <c:v>796</c:v>
                </c:pt>
                <c:pt idx="206">
                  <c:v>2484</c:v>
                </c:pt>
                <c:pt idx="207">
                  <c:v>1296</c:v>
                </c:pt>
                <c:pt idx="208">
                  <c:v>2608</c:v>
                </c:pt>
                <c:pt idx="209">
                  <c:v>1784</c:v>
                </c:pt>
                <c:pt idx="210">
                  <c:v>639</c:v>
                </c:pt>
                <c:pt idx="211">
                  <c:v>736</c:v>
                </c:pt>
                <c:pt idx="212">
                  <c:v>1334</c:v>
                </c:pt>
                <c:pt idx="213">
                  <c:v>1816</c:v>
                </c:pt>
                <c:pt idx="214">
                  <c:v>1588</c:v>
                </c:pt>
                <c:pt idx="215">
                  <c:v>1248</c:v>
                </c:pt>
                <c:pt idx="216">
                  <c:v>1512</c:v>
                </c:pt>
                <c:pt idx="217">
                  <c:v>512</c:v>
                </c:pt>
                <c:pt idx="218">
                  <c:v>314</c:v>
                </c:pt>
                <c:pt idx="219">
                  <c:v>1088</c:v>
                </c:pt>
                <c:pt idx="220">
                  <c:v>14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FF-47AF-8B33-C07C3C8439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C$244:$C$497</c:f>
              <c:numCache>
                <c:formatCode>General</c:formatCode>
                <c:ptCount val="25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9FF-47AF-8B33-C07C3C84391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D$244:$D$497</c:f>
              <c:numCache>
                <c:formatCode>General</c:formatCode>
                <c:ptCount val="254"/>
                <c:pt idx="73">
                  <c:v>0</c:v>
                </c:pt>
                <c:pt idx="216">
                  <c:v>1492</c:v>
                </c:pt>
                <c:pt idx="217">
                  <c:v>1450</c:v>
                </c:pt>
                <c:pt idx="218">
                  <c:v>1420</c:v>
                </c:pt>
                <c:pt idx="219">
                  <c:v>1401</c:v>
                </c:pt>
                <c:pt idx="220">
                  <c:v>1382</c:v>
                </c:pt>
                <c:pt idx="221">
                  <c:v>1363</c:v>
                </c:pt>
                <c:pt idx="222">
                  <c:v>1337</c:v>
                </c:pt>
                <c:pt idx="223">
                  <c:v>1304</c:v>
                </c:pt>
                <c:pt idx="224">
                  <c:v>1279</c:v>
                </c:pt>
                <c:pt idx="225">
                  <c:v>1259</c:v>
                </c:pt>
                <c:pt idx="226">
                  <c:v>1240</c:v>
                </c:pt>
                <c:pt idx="227">
                  <c:v>1218</c:v>
                </c:pt>
                <c:pt idx="228">
                  <c:v>1195</c:v>
                </c:pt>
                <c:pt idx="229">
                  <c:v>1171</c:v>
                </c:pt>
                <c:pt idx="230">
                  <c:v>1150</c:v>
                </c:pt>
                <c:pt idx="231">
                  <c:v>1130</c:v>
                </c:pt>
                <c:pt idx="232">
                  <c:v>1111</c:v>
                </c:pt>
                <c:pt idx="233">
                  <c:v>1092</c:v>
                </c:pt>
                <c:pt idx="234">
                  <c:v>1071</c:v>
                </c:pt>
                <c:pt idx="235">
                  <c:v>1051</c:v>
                </c:pt>
                <c:pt idx="236">
                  <c:v>1033</c:v>
                </c:pt>
                <c:pt idx="237">
                  <c:v>1015</c:v>
                </c:pt>
                <c:pt idx="238">
                  <c:v>997</c:v>
                </c:pt>
                <c:pt idx="239">
                  <c:v>979</c:v>
                </c:pt>
                <c:pt idx="240">
                  <c:v>962</c:v>
                </c:pt>
                <c:pt idx="241">
                  <c:v>944</c:v>
                </c:pt>
                <c:pt idx="242">
                  <c:v>928</c:v>
                </c:pt>
                <c:pt idx="243">
                  <c:v>911</c:v>
                </c:pt>
                <c:pt idx="244">
                  <c:v>895</c:v>
                </c:pt>
                <c:pt idx="245">
                  <c:v>880</c:v>
                </c:pt>
                <c:pt idx="246">
                  <c:v>864</c:v>
                </c:pt>
                <c:pt idx="247">
                  <c:v>849</c:v>
                </c:pt>
                <c:pt idx="248">
                  <c:v>834</c:v>
                </c:pt>
                <c:pt idx="249">
                  <c:v>819</c:v>
                </c:pt>
                <c:pt idx="250">
                  <c:v>805</c:v>
                </c:pt>
                <c:pt idx="251">
                  <c:v>791</c:v>
                </c:pt>
                <c:pt idx="252">
                  <c:v>777</c:v>
                </c:pt>
                <c:pt idx="253">
                  <c:v>7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9FF-47AF-8B33-C07C3C84391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E$244:$E$497</c:f>
              <c:numCache>
                <c:formatCode>General</c:formatCode>
                <c:ptCount val="254"/>
                <c:pt idx="216">
                  <c:v>1526</c:v>
                </c:pt>
                <c:pt idx="217">
                  <c:v>1502</c:v>
                </c:pt>
                <c:pt idx="218">
                  <c:v>1482</c:v>
                </c:pt>
                <c:pt idx="219">
                  <c:v>1469</c:v>
                </c:pt>
                <c:pt idx="220">
                  <c:v>1461</c:v>
                </c:pt>
                <c:pt idx="221">
                  <c:v>1455</c:v>
                </c:pt>
                <c:pt idx="222">
                  <c:v>1444</c:v>
                </c:pt>
                <c:pt idx="223">
                  <c:v>1427</c:v>
                </c:pt>
                <c:pt idx="224">
                  <c:v>1411</c:v>
                </c:pt>
                <c:pt idx="225">
                  <c:v>1400</c:v>
                </c:pt>
                <c:pt idx="226">
                  <c:v>1391</c:v>
                </c:pt>
                <c:pt idx="227">
                  <c:v>1380</c:v>
                </c:pt>
                <c:pt idx="228">
                  <c:v>1369</c:v>
                </c:pt>
                <c:pt idx="229">
                  <c:v>1355</c:v>
                </c:pt>
                <c:pt idx="230">
                  <c:v>1343</c:v>
                </c:pt>
                <c:pt idx="231">
                  <c:v>1332</c:v>
                </c:pt>
                <c:pt idx="232">
                  <c:v>1322</c:v>
                </c:pt>
                <c:pt idx="233">
                  <c:v>1311</c:v>
                </c:pt>
                <c:pt idx="234">
                  <c:v>1300</c:v>
                </c:pt>
                <c:pt idx="235">
                  <c:v>1288</c:v>
                </c:pt>
                <c:pt idx="236">
                  <c:v>1277</c:v>
                </c:pt>
                <c:pt idx="237">
                  <c:v>1267</c:v>
                </c:pt>
                <c:pt idx="238">
                  <c:v>1256</c:v>
                </c:pt>
                <c:pt idx="239">
                  <c:v>1246</c:v>
                </c:pt>
                <c:pt idx="240">
                  <c:v>1235</c:v>
                </c:pt>
                <c:pt idx="241">
                  <c:v>1225</c:v>
                </c:pt>
                <c:pt idx="242">
                  <c:v>1215</c:v>
                </c:pt>
                <c:pt idx="243">
                  <c:v>1205</c:v>
                </c:pt>
                <c:pt idx="244">
                  <c:v>1195</c:v>
                </c:pt>
                <c:pt idx="245">
                  <c:v>1185</c:v>
                </c:pt>
                <c:pt idx="246">
                  <c:v>1175</c:v>
                </c:pt>
                <c:pt idx="247">
                  <c:v>1165</c:v>
                </c:pt>
                <c:pt idx="248">
                  <c:v>1155</c:v>
                </c:pt>
                <c:pt idx="249">
                  <c:v>1146</c:v>
                </c:pt>
                <c:pt idx="250">
                  <c:v>1136</c:v>
                </c:pt>
                <c:pt idx="251">
                  <c:v>1127</c:v>
                </c:pt>
                <c:pt idx="252">
                  <c:v>1118</c:v>
                </c:pt>
                <c:pt idx="253">
                  <c:v>1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9FF-47AF-8B33-C07C3C84391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F$244:$F$497</c:f>
              <c:numCache>
                <c:formatCode>General</c:formatCode>
                <c:ptCount val="254"/>
                <c:pt idx="216">
                  <c:v>1592</c:v>
                </c:pt>
                <c:pt idx="217">
                  <c:v>1606</c:v>
                </c:pt>
                <c:pt idx="218">
                  <c:v>1606</c:v>
                </c:pt>
                <c:pt idx="219">
                  <c:v>1605</c:v>
                </c:pt>
                <c:pt idx="220">
                  <c:v>1621</c:v>
                </c:pt>
                <c:pt idx="221">
                  <c:v>1646</c:v>
                </c:pt>
                <c:pt idx="222">
                  <c:v>1669</c:v>
                </c:pt>
                <c:pt idx="223">
                  <c:v>1687</c:v>
                </c:pt>
                <c:pt idx="224">
                  <c:v>1695</c:v>
                </c:pt>
                <c:pt idx="225">
                  <c:v>1706</c:v>
                </c:pt>
                <c:pt idx="226">
                  <c:v>1723</c:v>
                </c:pt>
                <c:pt idx="227">
                  <c:v>1745</c:v>
                </c:pt>
                <c:pt idx="228">
                  <c:v>1764</c:v>
                </c:pt>
                <c:pt idx="229">
                  <c:v>1780</c:v>
                </c:pt>
                <c:pt idx="230">
                  <c:v>1794</c:v>
                </c:pt>
                <c:pt idx="231">
                  <c:v>1809</c:v>
                </c:pt>
                <c:pt idx="232">
                  <c:v>1827</c:v>
                </c:pt>
                <c:pt idx="233">
                  <c:v>1847</c:v>
                </c:pt>
                <c:pt idx="234">
                  <c:v>1865</c:v>
                </c:pt>
                <c:pt idx="235">
                  <c:v>1882</c:v>
                </c:pt>
                <c:pt idx="236">
                  <c:v>1899</c:v>
                </c:pt>
                <c:pt idx="237">
                  <c:v>1916</c:v>
                </c:pt>
                <c:pt idx="238">
                  <c:v>1935</c:v>
                </c:pt>
                <c:pt idx="239">
                  <c:v>1954</c:v>
                </c:pt>
                <c:pt idx="240">
                  <c:v>1973</c:v>
                </c:pt>
                <c:pt idx="241">
                  <c:v>1991</c:v>
                </c:pt>
                <c:pt idx="242">
                  <c:v>2010</c:v>
                </c:pt>
                <c:pt idx="243">
                  <c:v>2029</c:v>
                </c:pt>
                <c:pt idx="244">
                  <c:v>2048</c:v>
                </c:pt>
                <c:pt idx="245">
                  <c:v>2068</c:v>
                </c:pt>
                <c:pt idx="246">
                  <c:v>2087</c:v>
                </c:pt>
                <c:pt idx="247">
                  <c:v>2107</c:v>
                </c:pt>
                <c:pt idx="248">
                  <c:v>2127</c:v>
                </c:pt>
                <c:pt idx="249">
                  <c:v>2147</c:v>
                </c:pt>
                <c:pt idx="250">
                  <c:v>2167</c:v>
                </c:pt>
                <c:pt idx="251">
                  <c:v>2187</c:v>
                </c:pt>
                <c:pt idx="252">
                  <c:v>2208</c:v>
                </c:pt>
                <c:pt idx="253">
                  <c:v>22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9FF-47AF-8B33-C07C3C84391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G$244:$G$497</c:f>
              <c:numCache>
                <c:formatCode>General</c:formatCode>
                <c:ptCount val="254"/>
                <c:pt idx="216">
                  <c:v>1626</c:v>
                </c:pt>
                <c:pt idx="217">
                  <c:v>1658</c:v>
                </c:pt>
                <c:pt idx="218">
                  <c:v>1668</c:v>
                </c:pt>
                <c:pt idx="219">
                  <c:v>1673</c:v>
                </c:pt>
                <c:pt idx="220">
                  <c:v>1703</c:v>
                </c:pt>
                <c:pt idx="221">
                  <c:v>1745</c:v>
                </c:pt>
                <c:pt idx="222">
                  <c:v>1787</c:v>
                </c:pt>
                <c:pt idx="223">
                  <c:v>1826</c:v>
                </c:pt>
                <c:pt idx="224">
                  <c:v>1848</c:v>
                </c:pt>
                <c:pt idx="225">
                  <c:v>1872</c:v>
                </c:pt>
                <c:pt idx="226">
                  <c:v>1905</c:v>
                </c:pt>
                <c:pt idx="227">
                  <c:v>1947</c:v>
                </c:pt>
                <c:pt idx="228">
                  <c:v>1987</c:v>
                </c:pt>
                <c:pt idx="229">
                  <c:v>2022</c:v>
                </c:pt>
                <c:pt idx="230">
                  <c:v>2055</c:v>
                </c:pt>
                <c:pt idx="231">
                  <c:v>2089</c:v>
                </c:pt>
                <c:pt idx="232">
                  <c:v>2127</c:v>
                </c:pt>
                <c:pt idx="233">
                  <c:v>2168</c:v>
                </c:pt>
                <c:pt idx="234">
                  <c:v>2210</c:v>
                </c:pt>
                <c:pt idx="235">
                  <c:v>2248</c:v>
                </c:pt>
                <c:pt idx="236">
                  <c:v>2287</c:v>
                </c:pt>
                <c:pt idx="237">
                  <c:v>2327</c:v>
                </c:pt>
                <c:pt idx="238">
                  <c:v>2369</c:v>
                </c:pt>
                <c:pt idx="239">
                  <c:v>2413</c:v>
                </c:pt>
                <c:pt idx="240">
                  <c:v>2457</c:v>
                </c:pt>
                <c:pt idx="241">
                  <c:v>2501</c:v>
                </c:pt>
                <c:pt idx="242">
                  <c:v>2545</c:v>
                </c:pt>
                <c:pt idx="243">
                  <c:v>2590</c:v>
                </c:pt>
                <c:pt idx="244">
                  <c:v>2637</c:v>
                </c:pt>
                <c:pt idx="245">
                  <c:v>2685</c:v>
                </c:pt>
                <c:pt idx="246">
                  <c:v>2733</c:v>
                </c:pt>
                <c:pt idx="247">
                  <c:v>2782</c:v>
                </c:pt>
                <c:pt idx="248">
                  <c:v>2831</c:v>
                </c:pt>
                <c:pt idx="249">
                  <c:v>2882</c:v>
                </c:pt>
                <c:pt idx="250">
                  <c:v>2933</c:v>
                </c:pt>
                <c:pt idx="251">
                  <c:v>2986</c:v>
                </c:pt>
                <c:pt idx="252">
                  <c:v>3039</c:v>
                </c:pt>
                <c:pt idx="253">
                  <c:v>30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9FF-47AF-8B33-C07C3C8439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3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H$122:$H$344</c:f>
              <c:numCache>
                <c:formatCode>0</c:formatCode>
                <c:ptCount val="22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  <c:pt idx="188" formatCode="General">
                  <c:v>100</c:v>
                </c:pt>
                <c:pt idx="189" formatCode="General">
                  <c:v>100</c:v>
                </c:pt>
                <c:pt idx="190" formatCode="General">
                  <c:v>100</c:v>
                </c:pt>
                <c:pt idx="191" formatCode="General">
                  <c:v>100</c:v>
                </c:pt>
                <c:pt idx="192" formatCode="General">
                  <c:v>100</c:v>
                </c:pt>
                <c:pt idx="193" formatCode="General">
                  <c:v>100</c:v>
                </c:pt>
                <c:pt idx="194" formatCode="General">
                  <c:v>100</c:v>
                </c:pt>
                <c:pt idx="195" formatCode="General">
                  <c:v>100</c:v>
                </c:pt>
                <c:pt idx="196" formatCode="General">
                  <c:v>100</c:v>
                </c:pt>
                <c:pt idx="197" formatCode="General">
                  <c:v>100</c:v>
                </c:pt>
                <c:pt idx="198" formatCode="General">
                  <c:v>100</c:v>
                </c:pt>
                <c:pt idx="199" formatCode="General">
                  <c:v>100</c:v>
                </c:pt>
                <c:pt idx="200" formatCode="General">
                  <c:v>100</c:v>
                </c:pt>
                <c:pt idx="201" formatCode="General">
                  <c:v>100</c:v>
                </c:pt>
                <c:pt idx="202" formatCode="General">
                  <c:v>100</c:v>
                </c:pt>
                <c:pt idx="203" formatCode="General">
                  <c:v>100</c:v>
                </c:pt>
                <c:pt idx="204" formatCode="General">
                  <c:v>100</c:v>
                </c:pt>
                <c:pt idx="205" formatCode="General">
                  <c:v>100</c:v>
                </c:pt>
                <c:pt idx="206" formatCode="General">
                  <c:v>100</c:v>
                </c:pt>
                <c:pt idx="207" formatCode="General">
                  <c:v>100</c:v>
                </c:pt>
                <c:pt idx="208" formatCode="General">
                  <c:v>100</c:v>
                </c:pt>
                <c:pt idx="209" formatCode="General">
                  <c:v>100</c:v>
                </c:pt>
                <c:pt idx="210" formatCode="General">
                  <c:v>100</c:v>
                </c:pt>
                <c:pt idx="211" formatCode="General">
                  <c:v>100</c:v>
                </c:pt>
                <c:pt idx="212" formatCode="General">
                  <c:v>100</c:v>
                </c:pt>
                <c:pt idx="213" formatCode="General">
                  <c:v>100</c:v>
                </c:pt>
                <c:pt idx="214" formatCode="General">
                  <c:v>100</c:v>
                </c:pt>
                <c:pt idx="215" formatCode="General">
                  <c:v>100</c:v>
                </c:pt>
                <c:pt idx="216" formatCode="General">
                  <c:v>100</c:v>
                </c:pt>
                <c:pt idx="217" formatCode="General">
                  <c:v>100</c:v>
                </c:pt>
                <c:pt idx="218" formatCode="General">
                  <c:v>100</c:v>
                </c:pt>
                <c:pt idx="219" formatCode="General">
                  <c:v>100</c:v>
                </c:pt>
                <c:pt idx="220" formatCode="General">
                  <c:v>100</c:v>
                </c:pt>
                <c:pt idx="221" formatCode="General">
                  <c:v>100</c:v>
                </c:pt>
                <c:pt idx="222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EF-41E2-A2D7-553F333F2977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I$122:$I$344</c:f>
              <c:numCache>
                <c:formatCode>0</c:formatCode>
                <c:ptCount val="22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  <c:pt idx="188" formatCode="General">
                  <c:v>50</c:v>
                </c:pt>
                <c:pt idx="189" formatCode="General">
                  <c:v>50</c:v>
                </c:pt>
                <c:pt idx="190" formatCode="General">
                  <c:v>50</c:v>
                </c:pt>
                <c:pt idx="191" formatCode="General">
                  <c:v>50</c:v>
                </c:pt>
                <c:pt idx="192" formatCode="General">
                  <c:v>50</c:v>
                </c:pt>
                <c:pt idx="193" formatCode="General">
                  <c:v>50</c:v>
                </c:pt>
                <c:pt idx="194" formatCode="General">
                  <c:v>50</c:v>
                </c:pt>
                <c:pt idx="195" formatCode="General">
                  <c:v>50</c:v>
                </c:pt>
                <c:pt idx="196" formatCode="General">
                  <c:v>50</c:v>
                </c:pt>
                <c:pt idx="197" formatCode="General">
                  <c:v>50</c:v>
                </c:pt>
                <c:pt idx="198" formatCode="General">
                  <c:v>50</c:v>
                </c:pt>
                <c:pt idx="199" formatCode="General">
                  <c:v>50</c:v>
                </c:pt>
                <c:pt idx="200" formatCode="General">
                  <c:v>50</c:v>
                </c:pt>
                <c:pt idx="201" formatCode="General">
                  <c:v>50</c:v>
                </c:pt>
                <c:pt idx="202" formatCode="General">
                  <c:v>50</c:v>
                </c:pt>
                <c:pt idx="203" formatCode="General">
                  <c:v>50</c:v>
                </c:pt>
                <c:pt idx="204" formatCode="General">
                  <c:v>50</c:v>
                </c:pt>
                <c:pt idx="205" formatCode="General">
                  <c:v>50</c:v>
                </c:pt>
                <c:pt idx="206" formatCode="General">
                  <c:v>50</c:v>
                </c:pt>
                <c:pt idx="207" formatCode="General">
                  <c:v>50</c:v>
                </c:pt>
                <c:pt idx="208" formatCode="General">
                  <c:v>50</c:v>
                </c:pt>
                <c:pt idx="209" formatCode="General">
                  <c:v>50</c:v>
                </c:pt>
                <c:pt idx="210" formatCode="General">
                  <c:v>50</c:v>
                </c:pt>
                <c:pt idx="211" formatCode="General">
                  <c:v>50</c:v>
                </c:pt>
                <c:pt idx="212" formatCode="General">
                  <c:v>50</c:v>
                </c:pt>
                <c:pt idx="213" formatCode="General">
                  <c:v>50</c:v>
                </c:pt>
                <c:pt idx="214" formatCode="General">
                  <c:v>50</c:v>
                </c:pt>
                <c:pt idx="215" formatCode="General">
                  <c:v>50</c:v>
                </c:pt>
                <c:pt idx="216" formatCode="General">
                  <c:v>50</c:v>
                </c:pt>
                <c:pt idx="217" formatCode="General">
                  <c:v>50</c:v>
                </c:pt>
                <c:pt idx="218" formatCode="General">
                  <c:v>50</c:v>
                </c:pt>
                <c:pt idx="219" formatCode="General">
                  <c:v>50</c:v>
                </c:pt>
                <c:pt idx="220" formatCode="General">
                  <c:v>50</c:v>
                </c:pt>
                <c:pt idx="221" formatCode="General">
                  <c:v>50</c:v>
                </c:pt>
                <c:pt idx="222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2EF-41E2-A2D7-553F333F29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B$122:$B$344</c:f>
              <c:numCache>
                <c:formatCode>0</c:formatCode>
                <c:ptCount val="223"/>
                <c:pt idx="0">
                  <c:v>34.415928389493153</c:v>
                </c:pt>
                <c:pt idx="1">
                  <c:v>27.278984714252633</c:v>
                </c:pt>
                <c:pt idx="2">
                  <c:v>24.741404740833783</c:v>
                </c:pt>
                <c:pt idx="3">
                  <c:v>23.314016005785682</c:v>
                </c:pt>
                <c:pt idx="4">
                  <c:v>21.569429774060222</c:v>
                </c:pt>
                <c:pt idx="5">
                  <c:v>20.617837284028155</c:v>
                </c:pt>
                <c:pt idx="6">
                  <c:v>16.970066072238559</c:v>
                </c:pt>
                <c:pt idx="7">
                  <c:v>16.335671078883845</c:v>
                </c:pt>
                <c:pt idx="8">
                  <c:v>15.859874833867812</c:v>
                </c:pt>
                <c:pt idx="9">
                  <c:v>13.956689853803674</c:v>
                </c:pt>
                <c:pt idx="10">
                  <c:v>13.798091105464996</c:v>
                </c:pt>
                <c:pt idx="11">
                  <c:v>12.529301118755573</c:v>
                </c:pt>
                <c:pt idx="12">
                  <c:v>12.529301118755573</c:v>
                </c:pt>
                <c:pt idx="13">
                  <c:v>11.419109880384825</c:v>
                </c:pt>
                <c:pt idx="14">
                  <c:v>9.1987274036433302</c:v>
                </c:pt>
                <c:pt idx="15">
                  <c:v>7.6127399202565496</c:v>
                </c:pt>
                <c:pt idx="16">
                  <c:v>6.9783449269018369</c:v>
                </c:pt>
                <c:pt idx="17">
                  <c:v>6.026752436869768</c:v>
                </c:pt>
                <c:pt idx="18">
                  <c:v>5.8681536885310903</c:v>
                </c:pt>
                <c:pt idx="19">
                  <c:v>5.0751599468376991</c:v>
                </c:pt>
                <c:pt idx="20">
                  <c:v>4.2821662051443088</c:v>
                </c:pt>
                <c:pt idx="21">
                  <c:v>3.1719749667735622</c:v>
                </c:pt>
                <c:pt idx="22">
                  <c:v>3.013376218434884</c:v>
                </c:pt>
                <c:pt idx="23">
                  <c:v>2.8547774700962063</c:v>
                </c:pt>
                <c:pt idx="24">
                  <c:v>2.0617837284028155</c:v>
                </c:pt>
                <c:pt idx="25">
                  <c:v>2.0617837284028155</c:v>
                </c:pt>
                <c:pt idx="26">
                  <c:v>1.9031849800641374</c:v>
                </c:pt>
                <c:pt idx="27">
                  <c:v>1.2687899867094248</c:v>
                </c:pt>
                <c:pt idx="28">
                  <c:v>1.5859874833867811</c:v>
                </c:pt>
                <c:pt idx="29">
                  <c:v>1.4273887350481032</c:v>
                </c:pt>
                <c:pt idx="30">
                  <c:v>1.7445862317254592</c:v>
                </c:pt>
                <c:pt idx="31">
                  <c:v>1.5859874833867811</c:v>
                </c:pt>
                <c:pt idx="32">
                  <c:v>2.2203824767414937</c:v>
                </c:pt>
                <c:pt idx="33">
                  <c:v>2.2203824767414937</c:v>
                </c:pt>
                <c:pt idx="34">
                  <c:v>2.5375799734188496</c:v>
                </c:pt>
                <c:pt idx="35">
                  <c:v>2.5375799734188496</c:v>
                </c:pt>
                <c:pt idx="36">
                  <c:v>3.3305737151122403</c:v>
                </c:pt>
                <c:pt idx="37">
                  <c:v>4.4407649534829874</c:v>
                </c:pt>
                <c:pt idx="38">
                  <c:v>4.5993637018216651</c:v>
                </c:pt>
                <c:pt idx="39">
                  <c:v>4.1235674568056311</c:v>
                </c:pt>
                <c:pt idx="40">
                  <c:v>4.2821662051443088</c:v>
                </c:pt>
                <c:pt idx="41">
                  <c:v>4.5993637018216651</c:v>
                </c:pt>
                <c:pt idx="42">
                  <c:v>5.550956191853734</c:v>
                </c:pt>
                <c:pt idx="43">
                  <c:v>4.9165611984990214</c:v>
                </c:pt>
                <c:pt idx="44">
                  <c:v>4.1235674568056311</c:v>
                </c:pt>
                <c:pt idx="45">
                  <c:v>5.550956191853734</c:v>
                </c:pt>
                <c:pt idx="46">
                  <c:v>5.7095549401924126</c:v>
                </c:pt>
                <c:pt idx="47">
                  <c:v>5.7095549401924126</c:v>
                </c:pt>
                <c:pt idx="48">
                  <c:v>6.1853511852084457</c:v>
                </c:pt>
                <c:pt idx="49">
                  <c:v>5.8681536885310903</c:v>
                </c:pt>
                <c:pt idx="50">
                  <c:v>6.3439499335471243</c:v>
                </c:pt>
                <c:pt idx="51">
                  <c:v>5.8681536885310903</c:v>
                </c:pt>
                <c:pt idx="52">
                  <c:v>4.9165611984990214</c:v>
                </c:pt>
                <c:pt idx="53">
                  <c:v>4.9165611984990214</c:v>
                </c:pt>
                <c:pt idx="54">
                  <c:v>4.9165611984990214</c:v>
                </c:pt>
                <c:pt idx="55">
                  <c:v>4.2821662051443088</c:v>
                </c:pt>
                <c:pt idx="56">
                  <c:v>3.8063699601282748</c:v>
                </c:pt>
                <c:pt idx="57">
                  <c:v>3.3305737151122403</c:v>
                </c:pt>
                <c:pt idx="58">
                  <c:v>3.4891724634509185</c:v>
                </c:pt>
                <c:pt idx="59">
                  <c:v>3.6477712117895966</c:v>
                </c:pt>
                <c:pt idx="60">
                  <c:v>3.8063699601282748</c:v>
                </c:pt>
                <c:pt idx="61">
                  <c:v>3.8063699601282748</c:v>
                </c:pt>
                <c:pt idx="62">
                  <c:v>3.9649687084669529</c:v>
                </c:pt>
                <c:pt idx="63">
                  <c:v>5.3923574435150554</c:v>
                </c:pt>
                <c:pt idx="64">
                  <c:v>7.1369436752405147</c:v>
                </c:pt>
                <c:pt idx="65">
                  <c:v>7.6127399202565496</c:v>
                </c:pt>
                <c:pt idx="66">
                  <c:v>8.8815299069659748</c:v>
                </c:pt>
                <c:pt idx="67">
                  <c:v>10.467517390352755</c:v>
                </c:pt>
                <c:pt idx="68">
                  <c:v>13.798091105464996</c:v>
                </c:pt>
                <c:pt idx="69">
                  <c:v>14.591084847158386</c:v>
                </c:pt>
                <c:pt idx="70">
                  <c:v>13.322294860448961</c:v>
                </c:pt>
                <c:pt idx="71">
                  <c:v>12.687899867094249</c:v>
                </c:pt>
                <c:pt idx="72">
                  <c:v>12.687899867094249</c:v>
                </c:pt>
                <c:pt idx="73">
                  <c:v>11.419109880384825</c:v>
                </c:pt>
                <c:pt idx="74">
                  <c:v>9.9917211453367205</c:v>
                </c:pt>
                <c:pt idx="75">
                  <c:v>6.6611474302244806</c:v>
                </c:pt>
                <c:pt idx="76">
                  <c:v>6.3439499335471243</c:v>
                </c:pt>
                <c:pt idx="77">
                  <c:v>7.9299374169339059</c:v>
                </c:pt>
                <c:pt idx="78">
                  <c:v>7.6127399202565496</c:v>
                </c:pt>
                <c:pt idx="79">
                  <c:v>6.9783449269018369</c:v>
                </c:pt>
                <c:pt idx="80">
                  <c:v>6.6611474302244806</c:v>
                </c:pt>
                <c:pt idx="81">
                  <c:v>6.6611474302244806</c:v>
                </c:pt>
                <c:pt idx="82">
                  <c:v>6.6611474302244806</c:v>
                </c:pt>
                <c:pt idx="83">
                  <c:v>5.8681536885310903</c:v>
                </c:pt>
                <c:pt idx="84">
                  <c:v>4.4407649534829874</c:v>
                </c:pt>
                <c:pt idx="85">
                  <c:v>3.9649687084669529</c:v>
                </c:pt>
                <c:pt idx="86">
                  <c:v>4.4407649534829874</c:v>
                </c:pt>
                <c:pt idx="87">
                  <c:v>5.2337586951763777</c:v>
                </c:pt>
                <c:pt idx="88">
                  <c:v>5.3923574435150554</c:v>
                </c:pt>
                <c:pt idx="89">
                  <c:v>5.550956191853734</c:v>
                </c:pt>
                <c:pt idx="90">
                  <c:v>6.8197461785631583</c:v>
                </c:pt>
                <c:pt idx="91">
                  <c:v>8.7229311586272971</c:v>
                </c:pt>
                <c:pt idx="92">
                  <c:v>10.308918642014078</c:v>
                </c:pt>
                <c:pt idx="93">
                  <c:v>10.626116138691433</c:v>
                </c:pt>
                <c:pt idx="94">
                  <c:v>10.784714887030111</c:v>
                </c:pt>
                <c:pt idx="95">
                  <c:v>10.467517390352755</c:v>
                </c:pt>
                <c:pt idx="96">
                  <c:v>10.784714887030111</c:v>
                </c:pt>
                <c:pt idx="97">
                  <c:v>10.626116138691433</c:v>
                </c:pt>
                <c:pt idx="98">
                  <c:v>9.9917211453367205</c:v>
                </c:pt>
                <c:pt idx="99">
                  <c:v>10.308918642014078</c:v>
                </c:pt>
                <c:pt idx="100">
                  <c:v>10.784714887030111</c:v>
                </c:pt>
                <c:pt idx="101">
                  <c:v>10.784714887030111</c:v>
                </c:pt>
                <c:pt idx="102">
                  <c:v>10.94331363536879</c:v>
                </c:pt>
                <c:pt idx="103">
                  <c:v>11.419109880384825</c:v>
                </c:pt>
                <c:pt idx="104">
                  <c:v>12.053504873739536</c:v>
                </c:pt>
                <c:pt idx="105">
                  <c:v>13.163696112110284</c:v>
                </c:pt>
                <c:pt idx="106">
                  <c:v>12.846498615432926</c:v>
                </c:pt>
                <c:pt idx="107">
                  <c:v>14.591084847158386</c:v>
                </c:pt>
                <c:pt idx="108">
                  <c:v>15.225479840513099</c:v>
                </c:pt>
                <c:pt idx="109">
                  <c:v>19.190448548980054</c:v>
                </c:pt>
                <c:pt idx="110">
                  <c:v>18.55605355562534</c:v>
                </c:pt>
                <c:pt idx="111">
                  <c:v>17.60446106559327</c:v>
                </c:pt>
                <c:pt idx="112">
                  <c:v>17.445862317254594</c:v>
                </c:pt>
                <c:pt idx="113">
                  <c:v>17.128664820577235</c:v>
                </c:pt>
                <c:pt idx="114">
                  <c:v>16.970066072238559</c:v>
                </c:pt>
                <c:pt idx="115">
                  <c:v>17.60446106559327</c:v>
                </c:pt>
                <c:pt idx="116">
                  <c:v>16.970066072238559</c:v>
                </c:pt>
                <c:pt idx="117">
                  <c:v>18.238856058947984</c:v>
                </c:pt>
                <c:pt idx="118">
                  <c:v>20.935034780705511</c:v>
                </c:pt>
                <c:pt idx="119">
                  <c:v>22.362423515753616</c:v>
                </c:pt>
                <c:pt idx="120">
                  <c:v>25.058602237511145</c:v>
                </c:pt>
                <c:pt idx="121">
                  <c:v>31.243953422719589</c:v>
                </c:pt>
                <c:pt idx="122">
                  <c:v>36.319113369557286</c:v>
                </c:pt>
                <c:pt idx="123">
                  <c:v>36.794909614573321</c:v>
                </c:pt>
                <c:pt idx="124">
                  <c:v>36.794909614573321</c:v>
                </c:pt>
                <c:pt idx="125">
                  <c:v>40.601279574701593</c:v>
                </c:pt>
                <c:pt idx="126">
                  <c:v>43.456057044797802</c:v>
                </c:pt>
                <c:pt idx="127">
                  <c:v>52.020389455086416</c:v>
                </c:pt>
                <c:pt idx="128">
                  <c:v>54.71656817684395</c:v>
                </c:pt>
                <c:pt idx="129">
                  <c:v>54.240771931827915</c:v>
                </c:pt>
                <c:pt idx="130">
                  <c:v>55.192364421859985</c:v>
                </c:pt>
                <c:pt idx="131">
                  <c:v>55.350963170198661</c:v>
                </c:pt>
                <c:pt idx="132">
                  <c:v>63.439499335471247</c:v>
                </c:pt>
                <c:pt idx="133">
                  <c:v>75.651602957549457</c:v>
                </c:pt>
                <c:pt idx="134">
                  <c:v>84.057336619499395</c:v>
                </c:pt>
                <c:pt idx="135">
                  <c:v>95.635045248222895</c:v>
                </c:pt>
                <c:pt idx="136">
                  <c:v>113.71530255883222</c:v>
                </c:pt>
                <c:pt idx="137">
                  <c:v>127.98918990931324</c:v>
                </c:pt>
                <c:pt idx="138">
                  <c:v>133.54014610116698</c:v>
                </c:pt>
                <c:pt idx="139">
                  <c:v>148.13123094832534</c:v>
                </c:pt>
                <c:pt idx="140">
                  <c:v>178.26499313267419</c:v>
                </c:pt>
                <c:pt idx="141">
                  <c:v>194.44206546321936</c:v>
                </c:pt>
                <c:pt idx="142">
                  <c:v>226.32041387929368</c:v>
                </c:pt>
                <c:pt idx="143">
                  <c:v>266.92169345399526</c:v>
                </c:pt>
                <c:pt idx="144">
                  <c:v>292.93188818153845</c:v>
                </c:pt>
                <c:pt idx="145">
                  <c:v>306.72997928700346</c:v>
                </c:pt>
                <c:pt idx="146">
                  <c:v>318.46628666406565</c:v>
                </c:pt>
                <c:pt idx="147">
                  <c:v>363.03253494723418</c:v>
                </c:pt>
                <c:pt idx="148">
                  <c:v>413.30833817059516</c:v>
                </c:pt>
                <c:pt idx="149">
                  <c:v>408.07457947541883</c:v>
                </c:pt>
                <c:pt idx="150">
                  <c:v>425.52044179267335</c:v>
                </c:pt>
                <c:pt idx="151">
                  <c:v>438.8427366531223</c:v>
                </c:pt>
                <c:pt idx="152">
                  <c:v>450.10324778516849</c:v>
                </c:pt>
                <c:pt idx="153">
                  <c:v>522.74147452428303</c:v>
                </c:pt>
                <c:pt idx="154">
                  <c:v>571.74848776093461</c:v>
                </c:pt>
                <c:pt idx="155">
                  <c:v>632.65040712298708</c:v>
                </c:pt>
                <c:pt idx="156">
                  <c:v>718.45232997421181</c:v>
                </c:pt>
                <c:pt idx="157">
                  <c:v>786.01539676648872</c:v>
                </c:pt>
                <c:pt idx="158">
                  <c:v>811.86699274569321</c:v>
                </c:pt>
                <c:pt idx="159">
                  <c:v>824.7134913611261</c:v>
                </c:pt>
                <c:pt idx="160">
                  <c:v>807.74342528888758</c:v>
                </c:pt>
                <c:pt idx="161">
                  <c:v>883.55362699477587</c:v>
                </c:pt>
                <c:pt idx="162">
                  <c:v>928.9128690196377</c:v>
                </c:pt>
                <c:pt idx="163">
                  <c:v>980.77465972638538</c:v>
                </c:pt>
                <c:pt idx="164">
                  <c:v>1036.7600178899388</c:v>
                </c:pt>
                <c:pt idx="165">
                  <c:v>1061.342823882434</c:v>
                </c:pt>
                <c:pt idx="166">
                  <c:v>1093.2211722985082</c:v>
                </c:pt>
                <c:pt idx="167">
                  <c:v>1125.4167182112599</c:v>
                </c:pt>
                <c:pt idx="168">
                  <c:v>1217.4039922476932</c:v>
                </c:pt>
                <c:pt idx="169">
                  <c:v>1240.4008107568015</c:v>
                </c:pt>
                <c:pt idx="170">
                  <c:v>1240.8766070018175</c:v>
                </c:pt>
                <c:pt idx="171">
                  <c:v>1334.1326710249602</c:v>
                </c:pt>
                <c:pt idx="172">
                  <c:v>1386.1530604800466</c:v>
                </c:pt>
                <c:pt idx="173">
                  <c:v>1425.8027475647161</c:v>
                </c:pt>
                <c:pt idx="174">
                  <c:v>1422.1549763529265</c:v>
                </c:pt>
                <c:pt idx="175">
                  <c:v>1505.1021217340553</c:v>
                </c:pt>
                <c:pt idx="176">
                  <c:v>1493.2072156086545</c:v>
                </c:pt>
                <c:pt idx="177">
                  <c:v>1718.1002407529002</c:v>
                </c:pt>
                <c:pt idx="178">
                  <c:v>1700.8129771839842</c:v>
                </c:pt>
                <c:pt idx="179">
                  <c:v>1640.5454528152866</c:v>
                </c:pt>
                <c:pt idx="180">
                  <c:v>1640.3868540669475</c:v>
                </c:pt>
                <c:pt idx="181">
                  <c:v>1725.7129806731566</c:v>
                </c:pt>
                <c:pt idx="182">
                  <c:v>1619.7690167829196</c:v>
                </c:pt>
                <c:pt idx="183">
                  <c:v>1666.0798512978138</c:v>
                </c:pt>
                <c:pt idx="184">
                  <c:v>1450.3855535572113</c:v>
                </c:pt>
                <c:pt idx="185">
                  <c:v>1407.2466940090908</c:v>
                </c:pt>
                <c:pt idx="186">
                  <c:v>1387.1046529700789</c:v>
                </c:pt>
                <c:pt idx="187">
                  <c:v>1320.1759811711565</c:v>
                </c:pt>
                <c:pt idx="188">
                  <c:v>1281.1606890798416</c:v>
                </c:pt>
                <c:pt idx="189">
                  <c:v>1223.11354718788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2EF-41E2-A2D7-553F333F29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C$122:$C$344</c:f>
              <c:numCache>
                <c:formatCode>General</c:formatCode>
                <c:ptCount val="22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EF-41E2-A2D7-553F333F297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D$122:$D$344</c:f>
              <c:numCache>
                <c:formatCode>General</c:formatCode>
                <c:ptCount val="223"/>
                <c:pt idx="185" formatCode="0">
                  <c:v>1490.3524381385582</c:v>
                </c:pt>
                <c:pt idx="186" formatCode="0">
                  <c:v>1471.7963845829329</c:v>
                </c:pt>
                <c:pt idx="187" formatCode="0">
                  <c:v>1450.2269548088727</c:v>
                </c:pt>
                <c:pt idx="188">
                  <c:v>1429.2919200281672</c:v>
                </c:pt>
                <c:pt idx="189">
                  <c:v>1409.9428727308484</c:v>
                </c:pt>
                <c:pt idx="190">
                  <c:v>1387.2632517184175</c:v>
                </c:pt>
                <c:pt idx="191">
                  <c:v>1359.34987201081</c:v>
                </c:pt>
                <c:pt idx="192">
                  <c:v>1333.4982760316054</c:v>
                </c:pt>
                <c:pt idx="193">
                  <c:v>1309.8670625291427</c:v>
                </c:pt>
                <c:pt idx="194">
                  <c:v>1287.6632377617277</c:v>
                </c:pt>
                <c:pt idx="195">
                  <c:v>1265.4594129943127</c:v>
                </c:pt>
                <c:pt idx="196">
                  <c:v>1242.7797919818818</c:v>
                </c:pt>
                <c:pt idx="197">
                  <c:v>1219.6243747244348</c:v>
                </c:pt>
                <c:pt idx="198">
                  <c:v>1196.786154963665</c:v>
                </c:pt>
                <c:pt idx="199">
                  <c:v>1175.3753239379434</c:v>
                </c:pt>
                <c:pt idx="200">
                  <c:v>1154.7574866539153</c:v>
                </c:pt>
                <c:pt idx="201">
                  <c:v>1134.4568468665645</c:v>
                </c:pt>
                <c:pt idx="202">
                  <c:v>1113.8390095825364</c:v>
                </c:pt>
                <c:pt idx="203">
                  <c:v>1093.6969685435242</c:v>
                </c:pt>
                <c:pt idx="204">
                  <c:v>1073.8721250011895</c:v>
                </c:pt>
                <c:pt idx="205">
                  <c:v>1054.6816764522093</c:v>
                </c:pt>
                <c:pt idx="206">
                  <c:v>1035.9670241482454</c:v>
                </c:pt>
                <c:pt idx="207">
                  <c:v>1017.5695693409587</c:v>
                </c:pt>
                <c:pt idx="208">
                  <c:v>999.33071328201072</c:v>
                </c:pt>
                <c:pt idx="209">
                  <c:v>981.40905471974008</c:v>
                </c:pt>
                <c:pt idx="210">
                  <c:v>963.80459365414686</c:v>
                </c:pt>
                <c:pt idx="211">
                  <c:v>946.83452758190822</c:v>
                </c:pt>
                <c:pt idx="212">
                  <c:v>930.1816590063471</c:v>
                </c:pt>
                <c:pt idx="213">
                  <c:v>913.84598792746317</c:v>
                </c:pt>
                <c:pt idx="214">
                  <c:v>897.66891559691817</c:v>
                </c:pt>
                <c:pt idx="215">
                  <c:v>881.65044201471164</c:v>
                </c:pt>
                <c:pt idx="216">
                  <c:v>866.10776467752112</c:v>
                </c:pt>
                <c:pt idx="217">
                  <c:v>850.882284837008</c:v>
                </c:pt>
                <c:pt idx="218">
                  <c:v>835.81540374483359</c:v>
                </c:pt>
                <c:pt idx="219">
                  <c:v>821.06572014933647</c:v>
                </c:pt>
                <c:pt idx="220">
                  <c:v>806.63323405051676</c:v>
                </c:pt>
                <c:pt idx="221">
                  <c:v>792.35934670003576</c:v>
                </c:pt>
                <c:pt idx="222">
                  <c:v>778.561255594570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EF-41E2-A2D7-553F333F297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E$122:$E$344</c:f>
              <c:numCache>
                <c:formatCode>General</c:formatCode>
                <c:ptCount val="223"/>
                <c:pt idx="185" formatCode="0">
                  <c:v>1494.9518018403799</c:v>
                </c:pt>
                <c:pt idx="186" formatCode="0">
                  <c:v>1483.5326919599952</c:v>
                </c:pt>
                <c:pt idx="187" formatCode="0">
                  <c:v>1470.5275945962235</c:v>
                </c:pt>
                <c:pt idx="188">
                  <c:v>1458.9498859675</c:v>
                </c:pt>
                <c:pt idx="189">
                  <c:v>1450.5441523055501</c:v>
                </c:pt>
                <c:pt idx="190">
                  <c:v>1440.7110299085518</c:v>
                </c:pt>
                <c:pt idx="191">
                  <c:v>1427.5473337964418</c:v>
                </c:pt>
                <c:pt idx="192">
                  <c:v>1413.9078414393152</c:v>
                </c:pt>
                <c:pt idx="193">
                  <c:v>1401.2199415722212</c:v>
                </c:pt>
                <c:pt idx="194">
                  <c:v>1389.9594304401751</c:v>
                </c:pt>
                <c:pt idx="195">
                  <c:v>1379.1747155531448</c:v>
                </c:pt>
                <c:pt idx="196">
                  <c:v>1368.0728031694375</c:v>
                </c:pt>
                <c:pt idx="197">
                  <c:v>1356.1778970440366</c:v>
                </c:pt>
                <c:pt idx="198">
                  <c:v>1343.9657934219583</c:v>
                </c:pt>
                <c:pt idx="199">
                  <c:v>1332.3880847932348</c:v>
                </c:pt>
                <c:pt idx="200">
                  <c:v>1321.4447711578659</c:v>
                </c:pt>
                <c:pt idx="201">
                  <c:v>1310.6600562708359</c:v>
                </c:pt>
                <c:pt idx="202">
                  <c:v>1299.716742635467</c:v>
                </c:pt>
                <c:pt idx="203">
                  <c:v>1288.6148302517597</c:v>
                </c:pt>
                <c:pt idx="204">
                  <c:v>1277.5129178680522</c:v>
                </c:pt>
                <c:pt idx="205">
                  <c:v>1266.7282029810222</c:v>
                </c:pt>
                <c:pt idx="206">
                  <c:v>1256.2606855906693</c:v>
                </c:pt>
                <c:pt idx="207">
                  <c:v>1245.9517669486552</c:v>
                </c:pt>
                <c:pt idx="208">
                  <c:v>1235.4842495583025</c:v>
                </c:pt>
                <c:pt idx="209">
                  <c:v>1225.0167321679496</c:v>
                </c:pt>
                <c:pt idx="210">
                  <c:v>1214.5492147775969</c:v>
                </c:pt>
                <c:pt idx="211">
                  <c:v>1204.3988948839217</c:v>
                </c:pt>
                <c:pt idx="212">
                  <c:v>1194.407173738585</c:v>
                </c:pt>
                <c:pt idx="213">
                  <c:v>1184.4154525932481</c:v>
                </c:pt>
                <c:pt idx="214">
                  <c:v>1174.4237314479115</c:v>
                </c:pt>
                <c:pt idx="215">
                  <c:v>1164.5906090509134</c:v>
                </c:pt>
                <c:pt idx="216">
                  <c:v>1154.7574866539153</c:v>
                </c:pt>
                <c:pt idx="217">
                  <c:v>1145.2415617535946</c:v>
                </c:pt>
                <c:pt idx="218">
                  <c:v>1135.725636853274</c:v>
                </c:pt>
                <c:pt idx="219">
                  <c:v>1126.2097119529533</c:v>
                </c:pt>
                <c:pt idx="220">
                  <c:v>1116.8523858009714</c:v>
                </c:pt>
                <c:pt idx="221">
                  <c:v>1107.6536583973279</c:v>
                </c:pt>
                <c:pt idx="222">
                  <c:v>1098.45493099368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EF-41E2-A2D7-553F333F297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F$122:$F$344</c:f>
              <c:numCache>
                <c:formatCode>General</c:formatCode>
                <c:ptCount val="223"/>
                <c:pt idx="185" formatCode="0">
                  <c:v>1504.3091279923619</c:v>
                </c:pt>
                <c:pt idx="186" formatCode="0">
                  <c:v>1507.1639054624579</c:v>
                </c:pt>
                <c:pt idx="187" formatCode="0">
                  <c:v>1511.2874729192638</c:v>
                </c:pt>
                <c:pt idx="188">
                  <c:v>1518.5830153428428</c:v>
                </c:pt>
                <c:pt idx="189">
                  <c:v>1532.3811064483077</c:v>
                </c:pt>
                <c:pt idx="190">
                  <c:v>1548.8753762755305</c:v>
                </c:pt>
                <c:pt idx="191">
                  <c:v>1566.797034837801</c:v>
                </c:pt>
                <c:pt idx="192">
                  <c:v>1579.8021322015725</c:v>
                </c:pt>
                <c:pt idx="193">
                  <c:v>1592.1728345719896</c:v>
                </c:pt>
                <c:pt idx="194">
                  <c:v>1606.1295244257933</c:v>
                </c:pt>
                <c:pt idx="195">
                  <c:v>1622.3065967563386</c:v>
                </c:pt>
                <c:pt idx="196">
                  <c:v>1639.2766628285769</c:v>
                </c:pt>
                <c:pt idx="197">
                  <c:v>1655.6123339074607</c:v>
                </c:pt>
                <c:pt idx="198">
                  <c:v>1670.9964124963128</c:v>
                </c:pt>
                <c:pt idx="199">
                  <c:v>1685.7460960918097</c:v>
                </c:pt>
                <c:pt idx="200">
                  <c:v>1701.4473721773386</c:v>
                </c:pt>
                <c:pt idx="201">
                  <c:v>1718.1002407529002</c:v>
                </c:pt>
                <c:pt idx="202">
                  <c:v>1735.228905573477</c:v>
                </c:pt>
                <c:pt idx="203">
                  <c:v>1751.8817741490386</c:v>
                </c:pt>
                <c:pt idx="204">
                  <c:v>1768.2174452279223</c:v>
                </c:pt>
                <c:pt idx="205">
                  <c:v>1784.553116306806</c:v>
                </c:pt>
                <c:pt idx="206">
                  <c:v>1801.5231823790446</c:v>
                </c:pt>
                <c:pt idx="207">
                  <c:v>1818.9690446962993</c:v>
                </c:pt>
                <c:pt idx="208">
                  <c:v>1836.5735057618924</c:v>
                </c:pt>
                <c:pt idx="209">
                  <c:v>1854.0193680791472</c:v>
                </c:pt>
                <c:pt idx="210">
                  <c:v>1871.4652303964015</c:v>
                </c:pt>
                <c:pt idx="211">
                  <c:v>1889.069691461995</c:v>
                </c:pt>
                <c:pt idx="212">
                  <c:v>1906.9913500242658</c:v>
                </c:pt>
                <c:pt idx="213">
                  <c:v>1925.0716073348749</c:v>
                </c:pt>
                <c:pt idx="214">
                  <c:v>1943.3104633938228</c:v>
                </c:pt>
                <c:pt idx="215">
                  <c:v>1961.5493194527708</c:v>
                </c:pt>
                <c:pt idx="216">
                  <c:v>1979.9467742600575</c:v>
                </c:pt>
                <c:pt idx="217">
                  <c:v>1998.6614265640214</c:v>
                </c:pt>
                <c:pt idx="218">
                  <c:v>2017.5346776163242</c:v>
                </c:pt>
                <c:pt idx="219">
                  <c:v>2036.7251261653043</c:v>
                </c:pt>
                <c:pt idx="220">
                  <c:v>2056.0741734626231</c:v>
                </c:pt>
                <c:pt idx="221">
                  <c:v>2075.5818195082802</c:v>
                </c:pt>
                <c:pt idx="222">
                  <c:v>2095.24806430227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B2EF-41E2-A2D7-553F333F2977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G$122:$G$344</c:f>
              <c:numCache>
                <c:formatCode>General</c:formatCode>
                <c:ptCount val="223"/>
                <c:pt idx="185" formatCode="0">
                  <c:v>1508.9084916941836</c:v>
                </c:pt>
                <c:pt idx="186" formatCode="0">
                  <c:v>1518.9002128395202</c:v>
                </c:pt>
                <c:pt idx="187" formatCode="0">
                  <c:v>1531.5881127066145</c:v>
                </c:pt>
                <c:pt idx="188">
                  <c:v>1548.2409812821757</c:v>
                </c:pt>
                <c:pt idx="189">
                  <c:v>1573.140984771348</c:v>
                </c:pt>
                <c:pt idx="190">
                  <c:v>1603.2747469556969</c:v>
                </c:pt>
                <c:pt idx="191">
                  <c:v>1637.5320765968518</c:v>
                </c:pt>
                <c:pt idx="192">
                  <c:v>1664.9696600594427</c:v>
                </c:pt>
                <c:pt idx="193">
                  <c:v>1691.2970522836636</c:v>
                </c:pt>
                <c:pt idx="194">
                  <c:v>1719.5276294879482</c:v>
                </c:pt>
                <c:pt idx="195">
                  <c:v>1751.5645766523612</c:v>
                </c:pt>
                <c:pt idx="196">
                  <c:v>1785.5047087968383</c:v>
                </c:pt>
                <c:pt idx="197">
                  <c:v>1818.9690446962993</c:v>
                </c:pt>
                <c:pt idx="198">
                  <c:v>1851.4817881057281</c:v>
                </c:pt>
                <c:pt idx="199">
                  <c:v>1883.201537773464</c:v>
                </c:pt>
                <c:pt idx="200">
                  <c:v>1916.5072749245862</c:v>
                </c:pt>
                <c:pt idx="201">
                  <c:v>1951.7161970557729</c:v>
                </c:pt>
                <c:pt idx="202">
                  <c:v>1988.03531042533</c:v>
                </c:pt>
                <c:pt idx="203">
                  <c:v>2024.1958250465486</c:v>
                </c:pt>
                <c:pt idx="204">
                  <c:v>2060.3563396677673</c:v>
                </c:pt>
                <c:pt idx="205">
                  <c:v>2096.8340517856636</c:v>
                </c:pt>
                <c:pt idx="206">
                  <c:v>2134.4219551419301</c:v>
                </c:pt>
                <c:pt idx="207">
                  <c:v>2173.1200497365676</c:v>
                </c:pt>
                <c:pt idx="208">
                  <c:v>2212.6111380728985</c:v>
                </c:pt>
                <c:pt idx="209">
                  <c:v>2252.4194239059066</c:v>
                </c:pt>
                <c:pt idx="210">
                  <c:v>2292.5449072355918</c:v>
                </c:pt>
                <c:pt idx="211">
                  <c:v>2333.463384306971</c:v>
                </c:pt>
                <c:pt idx="212">
                  <c:v>2375.3334538683821</c:v>
                </c:pt>
                <c:pt idx="213">
                  <c:v>2418.1551159198252</c:v>
                </c:pt>
                <c:pt idx="214">
                  <c:v>2461.7697717129618</c:v>
                </c:pt>
                <c:pt idx="215">
                  <c:v>2506.0188224994527</c:v>
                </c:pt>
                <c:pt idx="216">
                  <c:v>2550.9022682792988</c:v>
                </c:pt>
                <c:pt idx="217">
                  <c:v>2596.5787078008379</c:v>
                </c:pt>
                <c:pt idx="218">
                  <c:v>2643.0481410640709</c:v>
                </c:pt>
                <c:pt idx="219">
                  <c:v>2690.4691668173355</c:v>
                </c:pt>
                <c:pt idx="220">
                  <c:v>2738.6831863122934</c:v>
                </c:pt>
                <c:pt idx="221">
                  <c:v>2787.5316008006066</c:v>
                </c:pt>
                <c:pt idx="222">
                  <c:v>2837.33160777895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B2EF-41E2-A2D7-553F333F29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79:$A$497</c:f>
              <c:numCache>
                <c:formatCode>m/d/yyyy</c:formatCode>
                <c:ptCount val="219"/>
                <c:pt idx="0">
                  <c:v>44352</c:v>
                </c:pt>
                <c:pt idx="1">
                  <c:v>44353</c:v>
                </c:pt>
                <c:pt idx="2">
                  <c:v>44354</c:v>
                </c:pt>
                <c:pt idx="3">
                  <c:v>44355</c:v>
                </c:pt>
                <c:pt idx="4">
                  <c:v>44356</c:v>
                </c:pt>
                <c:pt idx="5">
                  <c:v>44357</c:v>
                </c:pt>
                <c:pt idx="6">
                  <c:v>44358</c:v>
                </c:pt>
                <c:pt idx="7">
                  <c:v>44359</c:v>
                </c:pt>
                <c:pt idx="8">
                  <c:v>44360</c:v>
                </c:pt>
                <c:pt idx="9">
                  <c:v>44361</c:v>
                </c:pt>
                <c:pt idx="10">
                  <c:v>44362</c:v>
                </c:pt>
                <c:pt idx="11">
                  <c:v>44363</c:v>
                </c:pt>
                <c:pt idx="12">
                  <c:v>44364</c:v>
                </c:pt>
                <c:pt idx="13">
                  <c:v>44365</c:v>
                </c:pt>
                <c:pt idx="14">
                  <c:v>44366</c:v>
                </c:pt>
                <c:pt idx="15">
                  <c:v>44367</c:v>
                </c:pt>
                <c:pt idx="16">
                  <c:v>44368</c:v>
                </c:pt>
                <c:pt idx="17">
                  <c:v>44369</c:v>
                </c:pt>
                <c:pt idx="18">
                  <c:v>44370</c:v>
                </c:pt>
                <c:pt idx="19">
                  <c:v>44371</c:v>
                </c:pt>
                <c:pt idx="20">
                  <c:v>44372</c:v>
                </c:pt>
                <c:pt idx="21">
                  <c:v>44373</c:v>
                </c:pt>
                <c:pt idx="22">
                  <c:v>44374</c:v>
                </c:pt>
                <c:pt idx="23">
                  <c:v>44375</c:v>
                </c:pt>
                <c:pt idx="24">
                  <c:v>44376</c:v>
                </c:pt>
                <c:pt idx="25">
                  <c:v>44377</c:v>
                </c:pt>
                <c:pt idx="26">
                  <c:v>44378</c:v>
                </c:pt>
                <c:pt idx="27">
                  <c:v>44379</c:v>
                </c:pt>
                <c:pt idx="28">
                  <c:v>44380</c:v>
                </c:pt>
                <c:pt idx="29">
                  <c:v>44381</c:v>
                </c:pt>
                <c:pt idx="30">
                  <c:v>44382</c:v>
                </c:pt>
                <c:pt idx="31">
                  <c:v>44383</c:v>
                </c:pt>
                <c:pt idx="32">
                  <c:v>44384</c:v>
                </c:pt>
                <c:pt idx="33">
                  <c:v>44385</c:v>
                </c:pt>
                <c:pt idx="34">
                  <c:v>44386</c:v>
                </c:pt>
                <c:pt idx="35">
                  <c:v>44387</c:v>
                </c:pt>
                <c:pt idx="36">
                  <c:v>44388</c:v>
                </c:pt>
                <c:pt idx="37">
                  <c:v>44389</c:v>
                </c:pt>
                <c:pt idx="38">
                  <c:v>44390</c:v>
                </c:pt>
                <c:pt idx="39">
                  <c:v>44391</c:v>
                </c:pt>
                <c:pt idx="40">
                  <c:v>44392</c:v>
                </c:pt>
                <c:pt idx="41">
                  <c:v>44393</c:v>
                </c:pt>
                <c:pt idx="42">
                  <c:v>44394</c:v>
                </c:pt>
                <c:pt idx="43">
                  <c:v>44395</c:v>
                </c:pt>
                <c:pt idx="44">
                  <c:v>44396</c:v>
                </c:pt>
                <c:pt idx="45">
                  <c:v>44397</c:v>
                </c:pt>
                <c:pt idx="46">
                  <c:v>44398</c:v>
                </c:pt>
                <c:pt idx="47">
                  <c:v>44399</c:v>
                </c:pt>
                <c:pt idx="48">
                  <c:v>44400</c:v>
                </c:pt>
                <c:pt idx="49">
                  <c:v>44401</c:v>
                </c:pt>
                <c:pt idx="50">
                  <c:v>44402</c:v>
                </c:pt>
                <c:pt idx="51">
                  <c:v>44403</c:v>
                </c:pt>
                <c:pt idx="52">
                  <c:v>44404</c:v>
                </c:pt>
                <c:pt idx="53">
                  <c:v>44405</c:v>
                </c:pt>
                <c:pt idx="54">
                  <c:v>44406</c:v>
                </c:pt>
                <c:pt idx="55">
                  <c:v>44407</c:v>
                </c:pt>
                <c:pt idx="56">
                  <c:v>44408</c:v>
                </c:pt>
                <c:pt idx="57">
                  <c:v>44409</c:v>
                </c:pt>
                <c:pt idx="58">
                  <c:v>44410</c:v>
                </c:pt>
                <c:pt idx="59">
                  <c:v>44411</c:v>
                </c:pt>
                <c:pt idx="60">
                  <c:v>44412</c:v>
                </c:pt>
                <c:pt idx="61">
                  <c:v>44413</c:v>
                </c:pt>
                <c:pt idx="62">
                  <c:v>44414</c:v>
                </c:pt>
                <c:pt idx="63">
                  <c:v>44415</c:v>
                </c:pt>
                <c:pt idx="64">
                  <c:v>44416</c:v>
                </c:pt>
                <c:pt idx="65">
                  <c:v>44417</c:v>
                </c:pt>
                <c:pt idx="66">
                  <c:v>44418</c:v>
                </c:pt>
                <c:pt idx="67">
                  <c:v>44419</c:v>
                </c:pt>
                <c:pt idx="68">
                  <c:v>44420</c:v>
                </c:pt>
                <c:pt idx="69">
                  <c:v>44421</c:v>
                </c:pt>
                <c:pt idx="70">
                  <c:v>44422</c:v>
                </c:pt>
                <c:pt idx="71">
                  <c:v>44423</c:v>
                </c:pt>
                <c:pt idx="72">
                  <c:v>44424</c:v>
                </c:pt>
                <c:pt idx="73">
                  <c:v>44425</c:v>
                </c:pt>
                <c:pt idx="74">
                  <c:v>44426</c:v>
                </c:pt>
                <c:pt idx="75">
                  <c:v>44427</c:v>
                </c:pt>
                <c:pt idx="76">
                  <c:v>44428</c:v>
                </c:pt>
                <c:pt idx="77">
                  <c:v>44429</c:v>
                </c:pt>
                <c:pt idx="78">
                  <c:v>44430</c:v>
                </c:pt>
                <c:pt idx="79">
                  <c:v>44431</c:v>
                </c:pt>
                <c:pt idx="80">
                  <c:v>44432</c:v>
                </c:pt>
                <c:pt idx="81">
                  <c:v>44433</c:v>
                </c:pt>
                <c:pt idx="82">
                  <c:v>44434</c:v>
                </c:pt>
                <c:pt idx="83">
                  <c:v>44435</c:v>
                </c:pt>
                <c:pt idx="84">
                  <c:v>44436</c:v>
                </c:pt>
                <c:pt idx="85">
                  <c:v>44437</c:v>
                </c:pt>
                <c:pt idx="86">
                  <c:v>44438</c:v>
                </c:pt>
                <c:pt idx="87">
                  <c:v>44439</c:v>
                </c:pt>
                <c:pt idx="88">
                  <c:v>44440</c:v>
                </c:pt>
                <c:pt idx="89">
                  <c:v>44441</c:v>
                </c:pt>
                <c:pt idx="90">
                  <c:v>44442</c:v>
                </c:pt>
                <c:pt idx="91">
                  <c:v>44443</c:v>
                </c:pt>
                <c:pt idx="92">
                  <c:v>44444</c:v>
                </c:pt>
                <c:pt idx="93">
                  <c:v>44445</c:v>
                </c:pt>
                <c:pt idx="94">
                  <c:v>44446</c:v>
                </c:pt>
                <c:pt idx="95">
                  <c:v>44447</c:v>
                </c:pt>
                <c:pt idx="96">
                  <c:v>44448</c:v>
                </c:pt>
                <c:pt idx="97">
                  <c:v>44449</c:v>
                </c:pt>
                <c:pt idx="98">
                  <c:v>44450</c:v>
                </c:pt>
                <c:pt idx="99">
                  <c:v>44451</c:v>
                </c:pt>
                <c:pt idx="100">
                  <c:v>44452</c:v>
                </c:pt>
                <c:pt idx="101">
                  <c:v>44453</c:v>
                </c:pt>
                <c:pt idx="102">
                  <c:v>44454</c:v>
                </c:pt>
                <c:pt idx="103">
                  <c:v>44455</c:v>
                </c:pt>
                <c:pt idx="104">
                  <c:v>44456</c:v>
                </c:pt>
                <c:pt idx="105">
                  <c:v>44457</c:v>
                </c:pt>
                <c:pt idx="106">
                  <c:v>44458</c:v>
                </c:pt>
                <c:pt idx="107">
                  <c:v>44459</c:v>
                </c:pt>
                <c:pt idx="108">
                  <c:v>44460</c:v>
                </c:pt>
                <c:pt idx="109">
                  <c:v>44461</c:v>
                </c:pt>
                <c:pt idx="110">
                  <c:v>44462</c:v>
                </c:pt>
                <c:pt idx="111">
                  <c:v>44463</c:v>
                </c:pt>
                <c:pt idx="112">
                  <c:v>44464</c:v>
                </c:pt>
                <c:pt idx="113">
                  <c:v>44465</c:v>
                </c:pt>
                <c:pt idx="114">
                  <c:v>44466</c:v>
                </c:pt>
                <c:pt idx="115">
                  <c:v>44467</c:v>
                </c:pt>
                <c:pt idx="116">
                  <c:v>44468</c:v>
                </c:pt>
                <c:pt idx="117">
                  <c:v>44469</c:v>
                </c:pt>
                <c:pt idx="118">
                  <c:v>44470</c:v>
                </c:pt>
                <c:pt idx="119">
                  <c:v>44471</c:v>
                </c:pt>
                <c:pt idx="120">
                  <c:v>44472</c:v>
                </c:pt>
                <c:pt idx="121">
                  <c:v>44473</c:v>
                </c:pt>
                <c:pt idx="122">
                  <c:v>44474</c:v>
                </c:pt>
                <c:pt idx="123">
                  <c:v>44475</c:v>
                </c:pt>
                <c:pt idx="124">
                  <c:v>44476</c:v>
                </c:pt>
                <c:pt idx="125">
                  <c:v>44477</c:v>
                </c:pt>
                <c:pt idx="126">
                  <c:v>44478</c:v>
                </c:pt>
                <c:pt idx="127">
                  <c:v>44479</c:v>
                </c:pt>
                <c:pt idx="128">
                  <c:v>44480</c:v>
                </c:pt>
                <c:pt idx="129">
                  <c:v>44481</c:v>
                </c:pt>
                <c:pt idx="130">
                  <c:v>44482</c:v>
                </c:pt>
                <c:pt idx="131">
                  <c:v>44483</c:v>
                </c:pt>
                <c:pt idx="132">
                  <c:v>44484</c:v>
                </c:pt>
                <c:pt idx="133">
                  <c:v>44485</c:v>
                </c:pt>
                <c:pt idx="134">
                  <c:v>44486</c:v>
                </c:pt>
                <c:pt idx="135">
                  <c:v>44487</c:v>
                </c:pt>
                <c:pt idx="136">
                  <c:v>44488</c:v>
                </c:pt>
                <c:pt idx="137">
                  <c:v>44489</c:v>
                </c:pt>
                <c:pt idx="138">
                  <c:v>44490</c:v>
                </c:pt>
                <c:pt idx="139">
                  <c:v>44491</c:v>
                </c:pt>
                <c:pt idx="140">
                  <c:v>44492</c:v>
                </c:pt>
                <c:pt idx="141">
                  <c:v>44493</c:v>
                </c:pt>
                <c:pt idx="142">
                  <c:v>44494</c:v>
                </c:pt>
                <c:pt idx="143">
                  <c:v>44495</c:v>
                </c:pt>
                <c:pt idx="144">
                  <c:v>44496</c:v>
                </c:pt>
                <c:pt idx="145">
                  <c:v>44497</c:v>
                </c:pt>
                <c:pt idx="146">
                  <c:v>44498</c:v>
                </c:pt>
                <c:pt idx="147">
                  <c:v>44499</c:v>
                </c:pt>
                <c:pt idx="148">
                  <c:v>44500</c:v>
                </c:pt>
                <c:pt idx="149">
                  <c:v>44501</c:v>
                </c:pt>
                <c:pt idx="150">
                  <c:v>44502</c:v>
                </c:pt>
                <c:pt idx="151">
                  <c:v>44503</c:v>
                </c:pt>
                <c:pt idx="152">
                  <c:v>44504</c:v>
                </c:pt>
                <c:pt idx="153">
                  <c:v>44505</c:v>
                </c:pt>
                <c:pt idx="154">
                  <c:v>44506</c:v>
                </c:pt>
                <c:pt idx="155">
                  <c:v>44507</c:v>
                </c:pt>
                <c:pt idx="156">
                  <c:v>44508</c:v>
                </c:pt>
                <c:pt idx="157">
                  <c:v>44509</c:v>
                </c:pt>
                <c:pt idx="158">
                  <c:v>44510</c:v>
                </c:pt>
                <c:pt idx="159">
                  <c:v>44511</c:v>
                </c:pt>
                <c:pt idx="160">
                  <c:v>44512</c:v>
                </c:pt>
                <c:pt idx="161">
                  <c:v>44513</c:v>
                </c:pt>
                <c:pt idx="162">
                  <c:v>44514</c:v>
                </c:pt>
                <c:pt idx="163">
                  <c:v>44515</c:v>
                </c:pt>
                <c:pt idx="164">
                  <c:v>44516</c:v>
                </c:pt>
                <c:pt idx="165">
                  <c:v>44517</c:v>
                </c:pt>
                <c:pt idx="166">
                  <c:v>44518</c:v>
                </c:pt>
                <c:pt idx="167">
                  <c:v>44519</c:v>
                </c:pt>
                <c:pt idx="168">
                  <c:v>44520</c:v>
                </c:pt>
                <c:pt idx="169">
                  <c:v>44521</c:v>
                </c:pt>
                <c:pt idx="170">
                  <c:v>44522</c:v>
                </c:pt>
                <c:pt idx="171">
                  <c:v>44523</c:v>
                </c:pt>
                <c:pt idx="172">
                  <c:v>44524</c:v>
                </c:pt>
                <c:pt idx="173">
                  <c:v>44525</c:v>
                </c:pt>
                <c:pt idx="174">
                  <c:v>44526</c:v>
                </c:pt>
                <c:pt idx="175">
                  <c:v>44527</c:v>
                </c:pt>
                <c:pt idx="176">
                  <c:v>44528</c:v>
                </c:pt>
                <c:pt idx="177">
                  <c:v>44529</c:v>
                </c:pt>
                <c:pt idx="178">
                  <c:v>44530</c:v>
                </c:pt>
                <c:pt idx="179">
                  <c:v>44531</c:v>
                </c:pt>
                <c:pt idx="180">
                  <c:v>44532</c:v>
                </c:pt>
                <c:pt idx="181">
                  <c:v>44533</c:v>
                </c:pt>
                <c:pt idx="182">
                  <c:v>44534</c:v>
                </c:pt>
                <c:pt idx="183">
                  <c:v>44535</c:v>
                </c:pt>
                <c:pt idx="184">
                  <c:v>44536</c:v>
                </c:pt>
                <c:pt idx="185">
                  <c:v>44537</c:v>
                </c:pt>
                <c:pt idx="186">
                  <c:v>44538</c:v>
                </c:pt>
                <c:pt idx="187">
                  <c:v>44539</c:v>
                </c:pt>
                <c:pt idx="188">
                  <c:v>44540</c:v>
                </c:pt>
                <c:pt idx="189">
                  <c:v>44541</c:v>
                </c:pt>
                <c:pt idx="190">
                  <c:v>44542</c:v>
                </c:pt>
                <c:pt idx="191">
                  <c:v>44543</c:v>
                </c:pt>
                <c:pt idx="192">
                  <c:v>44544</c:v>
                </c:pt>
                <c:pt idx="193">
                  <c:v>44545</c:v>
                </c:pt>
                <c:pt idx="194">
                  <c:v>44546</c:v>
                </c:pt>
                <c:pt idx="195">
                  <c:v>44547</c:v>
                </c:pt>
                <c:pt idx="196">
                  <c:v>44548</c:v>
                </c:pt>
                <c:pt idx="197">
                  <c:v>44549</c:v>
                </c:pt>
                <c:pt idx="198">
                  <c:v>44550</c:v>
                </c:pt>
                <c:pt idx="199">
                  <c:v>44551</c:v>
                </c:pt>
                <c:pt idx="200">
                  <c:v>44552</c:v>
                </c:pt>
                <c:pt idx="201">
                  <c:v>44553</c:v>
                </c:pt>
                <c:pt idx="202">
                  <c:v>44554</c:v>
                </c:pt>
                <c:pt idx="203">
                  <c:v>44555</c:v>
                </c:pt>
                <c:pt idx="204">
                  <c:v>44556</c:v>
                </c:pt>
                <c:pt idx="205">
                  <c:v>44557</c:v>
                </c:pt>
                <c:pt idx="206">
                  <c:v>44558</c:v>
                </c:pt>
                <c:pt idx="207">
                  <c:v>44559</c:v>
                </c:pt>
                <c:pt idx="208">
                  <c:v>44560</c:v>
                </c:pt>
                <c:pt idx="209">
                  <c:v>44561</c:v>
                </c:pt>
                <c:pt idx="210">
                  <c:v>44562</c:v>
                </c:pt>
                <c:pt idx="211">
                  <c:v>44563</c:v>
                </c:pt>
                <c:pt idx="212">
                  <c:v>44564</c:v>
                </c:pt>
                <c:pt idx="213">
                  <c:v>44565</c:v>
                </c:pt>
                <c:pt idx="214">
                  <c:v>44566</c:v>
                </c:pt>
                <c:pt idx="215">
                  <c:v>44567</c:v>
                </c:pt>
                <c:pt idx="216">
                  <c:v>44568</c:v>
                </c:pt>
                <c:pt idx="217">
                  <c:v>44569</c:v>
                </c:pt>
                <c:pt idx="218">
                  <c:v>44570</c:v>
                </c:pt>
              </c:numCache>
            </c:numRef>
          </c:cat>
          <c:val>
            <c:numRef>
              <c:f>Sheet1!$B$279:$B$497</c:f>
              <c:numCache>
                <c:formatCode>0</c:formatCode>
                <c:ptCount val="219"/>
                <c:pt idx="0">
                  <c:v>10</c:v>
                </c:pt>
                <c:pt idx="1">
                  <c:v>0</c:v>
                </c:pt>
                <c:pt idx="2">
                  <c:v>21</c:v>
                </c:pt>
                <c:pt idx="3">
                  <c:v>24</c:v>
                </c:pt>
                <c:pt idx="4">
                  <c:v>19</c:v>
                </c:pt>
                <c:pt idx="5">
                  <c:v>11</c:v>
                </c:pt>
                <c:pt idx="6">
                  <c:v>6</c:v>
                </c:pt>
                <c:pt idx="7">
                  <c:v>7</c:v>
                </c:pt>
                <c:pt idx="8">
                  <c:v>0</c:v>
                </c:pt>
                <c:pt idx="9">
                  <c:v>12</c:v>
                </c:pt>
                <c:pt idx="10">
                  <c:v>11</c:v>
                </c:pt>
                <c:pt idx="11">
                  <c:v>5</c:v>
                </c:pt>
                <c:pt idx="12">
                  <c:v>6</c:v>
                </c:pt>
                <c:pt idx="13">
                  <c:v>8</c:v>
                </c:pt>
                <c:pt idx="14">
                  <c:v>9</c:v>
                </c:pt>
                <c:pt idx="15">
                  <c:v>1</c:v>
                </c:pt>
                <c:pt idx="16">
                  <c:v>8</c:v>
                </c:pt>
                <c:pt idx="17">
                  <c:v>10</c:v>
                </c:pt>
                <c:pt idx="18">
                  <c:v>12</c:v>
                </c:pt>
                <c:pt idx="19">
                  <c:v>3</c:v>
                </c:pt>
                <c:pt idx="20">
                  <c:v>2</c:v>
                </c:pt>
                <c:pt idx="21">
                  <c:v>4</c:v>
                </c:pt>
                <c:pt idx="22">
                  <c:v>4</c:v>
                </c:pt>
                <c:pt idx="23">
                  <c:v>5</c:v>
                </c:pt>
                <c:pt idx="24">
                  <c:v>11</c:v>
                </c:pt>
                <c:pt idx="25">
                  <c:v>2</c:v>
                </c:pt>
                <c:pt idx="26">
                  <c:v>1</c:v>
                </c:pt>
                <c:pt idx="27">
                  <c:v>8</c:v>
                </c:pt>
                <c:pt idx="28">
                  <c:v>1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11</c:v>
                </c:pt>
                <c:pt idx="33">
                  <c:v>3</c:v>
                </c:pt>
                <c:pt idx="34">
                  <c:v>9</c:v>
                </c:pt>
                <c:pt idx="35">
                  <c:v>4</c:v>
                </c:pt>
                <c:pt idx="36">
                  <c:v>1</c:v>
                </c:pt>
                <c:pt idx="37">
                  <c:v>3</c:v>
                </c:pt>
                <c:pt idx="38">
                  <c:v>4</c:v>
                </c:pt>
                <c:pt idx="39">
                  <c:v>9</c:v>
                </c:pt>
                <c:pt idx="40">
                  <c:v>5</c:v>
                </c:pt>
                <c:pt idx="41">
                  <c:v>4</c:v>
                </c:pt>
                <c:pt idx="42">
                  <c:v>5</c:v>
                </c:pt>
                <c:pt idx="43">
                  <c:v>2</c:v>
                </c:pt>
                <c:pt idx="44">
                  <c:v>4</c:v>
                </c:pt>
                <c:pt idx="45">
                  <c:v>6</c:v>
                </c:pt>
                <c:pt idx="46">
                  <c:v>6</c:v>
                </c:pt>
                <c:pt idx="47">
                  <c:v>11</c:v>
                </c:pt>
                <c:pt idx="48">
                  <c:v>4</c:v>
                </c:pt>
                <c:pt idx="49">
                  <c:v>4</c:v>
                </c:pt>
                <c:pt idx="50">
                  <c:v>2</c:v>
                </c:pt>
                <c:pt idx="51">
                  <c:v>4</c:v>
                </c:pt>
                <c:pt idx="52">
                  <c:v>6</c:v>
                </c:pt>
                <c:pt idx="53">
                  <c:v>2</c:v>
                </c:pt>
                <c:pt idx="54">
                  <c:v>7</c:v>
                </c:pt>
                <c:pt idx="55">
                  <c:v>2</c:v>
                </c:pt>
                <c:pt idx="56">
                  <c:v>1</c:v>
                </c:pt>
                <c:pt idx="57">
                  <c:v>1</c:v>
                </c:pt>
                <c:pt idx="58">
                  <c:v>4</c:v>
                </c:pt>
                <c:pt idx="59">
                  <c:v>2</c:v>
                </c:pt>
                <c:pt idx="60">
                  <c:v>2</c:v>
                </c:pt>
                <c:pt idx="61">
                  <c:v>3</c:v>
                </c:pt>
                <c:pt idx="62">
                  <c:v>5</c:v>
                </c:pt>
                <c:pt idx="63">
                  <c:v>5</c:v>
                </c:pt>
                <c:pt idx="64">
                  <c:v>2</c:v>
                </c:pt>
                <c:pt idx="65">
                  <c:v>4</c:v>
                </c:pt>
                <c:pt idx="66">
                  <c:v>2</c:v>
                </c:pt>
                <c:pt idx="67">
                  <c:v>6</c:v>
                </c:pt>
                <c:pt idx="68">
                  <c:v>3</c:v>
                </c:pt>
                <c:pt idx="69">
                  <c:v>6</c:v>
                </c:pt>
                <c:pt idx="70">
                  <c:v>4</c:v>
                </c:pt>
                <c:pt idx="71">
                  <c:v>1</c:v>
                </c:pt>
                <c:pt idx="72">
                  <c:v>3</c:v>
                </c:pt>
                <c:pt idx="73">
                  <c:v>6</c:v>
                </c:pt>
                <c:pt idx="74">
                  <c:v>3</c:v>
                </c:pt>
                <c:pt idx="75">
                  <c:v>8</c:v>
                </c:pt>
                <c:pt idx="76">
                  <c:v>5</c:v>
                </c:pt>
                <c:pt idx="77">
                  <c:v>7</c:v>
                </c:pt>
                <c:pt idx="78">
                  <c:v>0</c:v>
                </c:pt>
                <c:pt idx="79">
                  <c:v>4</c:v>
                </c:pt>
                <c:pt idx="80">
                  <c:v>8</c:v>
                </c:pt>
                <c:pt idx="81">
                  <c:v>10</c:v>
                </c:pt>
                <c:pt idx="82">
                  <c:v>3</c:v>
                </c:pt>
                <c:pt idx="83">
                  <c:v>8</c:v>
                </c:pt>
                <c:pt idx="84">
                  <c:v>9</c:v>
                </c:pt>
                <c:pt idx="85">
                  <c:v>1</c:v>
                </c:pt>
                <c:pt idx="86">
                  <c:v>8</c:v>
                </c:pt>
                <c:pt idx="87">
                  <c:v>8</c:v>
                </c:pt>
                <c:pt idx="88">
                  <c:v>6</c:v>
                </c:pt>
                <c:pt idx="89">
                  <c:v>13</c:v>
                </c:pt>
                <c:pt idx="90">
                  <c:v>26</c:v>
                </c:pt>
                <c:pt idx="91">
                  <c:v>14</c:v>
                </c:pt>
                <c:pt idx="92">
                  <c:v>6</c:v>
                </c:pt>
                <c:pt idx="93">
                  <c:v>19</c:v>
                </c:pt>
                <c:pt idx="94">
                  <c:v>19</c:v>
                </c:pt>
                <c:pt idx="95">
                  <c:v>19</c:v>
                </c:pt>
                <c:pt idx="96">
                  <c:v>22</c:v>
                </c:pt>
                <c:pt idx="97">
                  <c:v>28</c:v>
                </c:pt>
                <c:pt idx="98">
                  <c:v>14</c:v>
                </c:pt>
                <c:pt idx="99">
                  <c:v>3</c:v>
                </c:pt>
                <c:pt idx="100">
                  <c:v>30</c:v>
                </c:pt>
                <c:pt idx="101">
                  <c:v>37</c:v>
                </c:pt>
                <c:pt idx="102">
                  <c:v>22</c:v>
                </c:pt>
                <c:pt idx="103">
                  <c:v>21</c:v>
                </c:pt>
                <c:pt idx="104">
                  <c:v>26</c:v>
                </c:pt>
                <c:pt idx="105">
                  <c:v>16</c:v>
                </c:pt>
                <c:pt idx="106">
                  <c:v>2</c:v>
                </c:pt>
                <c:pt idx="107">
                  <c:v>14</c:v>
                </c:pt>
                <c:pt idx="108">
                  <c:v>25</c:v>
                </c:pt>
                <c:pt idx="109">
                  <c:v>23</c:v>
                </c:pt>
                <c:pt idx="110">
                  <c:v>16</c:v>
                </c:pt>
                <c:pt idx="111">
                  <c:v>15</c:v>
                </c:pt>
                <c:pt idx="112">
                  <c:v>34</c:v>
                </c:pt>
                <c:pt idx="113">
                  <c:v>12</c:v>
                </c:pt>
                <c:pt idx="114">
                  <c:v>29</c:v>
                </c:pt>
                <c:pt idx="115">
                  <c:v>23</c:v>
                </c:pt>
                <c:pt idx="116">
                  <c:v>31</c:v>
                </c:pt>
                <c:pt idx="117">
                  <c:v>34</c:v>
                </c:pt>
                <c:pt idx="118">
                  <c:v>45</c:v>
                </c:pt>
                <c:pt idx="119">
                  <c:v>29</c:v>
                </c:pt>
                <c:pt idx="120">
                  <c:v>16</c:v>
                </c:pt>
                <c:pt idx="121">
                  <c:v>32</c:v>
                </c:pt>
                <c:pt idx="122">
                  <c:v>62</c:v>
                </c:pt>
                <c:pt idx="123">
                  <c:v>51</c:v>
                </c:pt>
                <c:pt idx="124">
                  <c:v>63</c:v>
                </c:pt>
                <c:pt idx="125">
                  <c:v>45</c:v>
                </c:pt>
                <c:pt idx="126">
                  <c:v>37</c:v>
                </c:pt>
                <c:pt idx="127">
                  <c:v>9</c:v>
                </c:pt>
                <c:pt idx="128">
                  <c:v>56</c:v>
                </c:pt>
                <c:pt idx="129">
                  <c:v>90</c:v>
                </c:pt>
                <c:pt idx="130">
                  <c:v>56</c:v>
                </c:pt>
                <c:pt idx="131">
                  <c:v>73</c:v>
                </c:pt>
                <c:pt idx="132">
                  <c:v>86</c:v>
                </c:pt>
                <c:pt idx="133">
                  <c:v>61</c:v>
                </c:pt>
                <c:pt idx="134">
                  <c:v>22</c:v>
                </c:pt>
                <c:pt idx="135">
                  <c:v>107</c:v>
                </c:pt>
                <c:pt idx="136">
                  <c:v>170</c:v>
                </c:pt>
                <c:pt idx="137">
                  <c:v>151</c:v>
                </c:pt>
                <c:pt idx="138">
                  <c:v>171</c:v>
                </c:pt>
                <c:pt idx="139">
                  <c:v>265</c:v>
                </c:pt>
                <c:pt idx="140">
                  <c:v>165</c:v>
                </c:pt>
                <c:pt idx="141">
                  <c:v>80</c:v>
                </c:pt>
                <c:pt idx="142">
                  <c:v>245</c:v>
                </c:pt>
                <c:pt idx="143">
                  <c:v>413</c:v>
                </c:pt>
                <c:pt idx="144">
                  <c:v>349</c:v>
                </c:pt>
                <c:pt idx="145">
                  <c:v>291</c:v>
                </c:pt>
                <c:pt idx="146">
                  <c:v>289</c:v>
                </c:pt>
                <c:pt idx="147">
                  <c:v>451</c:v>
                </c:pt>
                <c:pt idx="148">
                  <c:v>219</c:v>
                </c:pt>
                <c:pt idx="149">
                  <c:v>382</c:v>
                </c:pt>
                <c:pt idx="150">
                  <c:v>621</c:v>
                </c:pt>
                <c:pt idx="151">
                  <c:v>542</c:v>
                </c:pt>
                <c:pt idx="152">
                  <c:v>558</c:v>
                </c:pt>
                <c:pt idx="153">
                  <c:v>535</c:v>
                </c:pt>
                <c:pt idx="154">
                  <c:v>536</c:v>
                </c:pt>
                <c:pt idx="155">
                  <c:v>174</c:v>
                </c:pt>
                <c:pt idx="156">
                  <c:v>484</c:v>
                </c:pt>
                <c:pt idx="157">
                  <c:v>1004</c:v>
                </c:pt>
                <c:pt idx="158">
                  <c:v>932</c:v>
                </c:pt>
                <c:pt idx="159">
                  <c:v>544</c:v>
                </c:pt>
                <c:pt idx="160">
                  <c:v>982</c:v>
                </c:pt>
                <c:pt idx="161">
                  <c:v>795</c:v>
                </c:pt>
                <c:pt idx="162">
                  <c:v>374</c:v>
                </c:pt>
                <c:pt idx="163">
                  <c:v>650</c:v>
                </c:pt>
                <c:pt idx="164">
                  <c:v>1699</c:v>
                </c:pt>
                <c:pt idx="165">
                  <c:v>1030</c:v>
                </c:pt>
                <c:pt idx="166">
                  <c:v>799</c:v>
                </c:pt>
                <c:pt idx="167">
                  <c:v>1451</c:v>
                </c:pt>
                <c:pt idx="168">
                  <c:v>1243</c:v>
                </c:pt>
                <c:pt idx="169">
                  <c:v>545</c:v>
                </c:pt>
                <c:pt idx="170">
                  <c:v>780</c:v>
                </c:pt>
                <c:pt idx="171">
                  <c:v>1866</c:v>
                </c:pt>
                <c:pt idx="172">
                  <c:v>1227</c:v>
                </c:pt>
                <c:pt idx="173">
                  <c:v>1966</c:v>
                </c:pt>
                <c:pt idx="174">
                  <c:v>1576</c:v>
                </c:pt>
                <c:pt idx="175">
                  <c:v>1017</c:v>
                </c:pt>
                <c:pt idx="176">
                  <c:v>601</c:v>
                </c:pt>
                <c:pt idx="177">
                  <c:v>879</c:v>
                </c:pt>
                <c:pt idx="178">
                  <c:v>1817</c:v>
                </c:pt>
                <c:pt idx="179">
                  <c:v>1461</c:v>
                </c:pt>
                <c:pt idx="180">
                  <c:v>1382</c:v>
                </c:pt>
                <c:pt idx="181">
                  <c:v>1168</c:v>
                </c:pt>
                <c:pt idx="182">
                  <c:v>874</c:v>
                </c:pt>
                <c:pt idx="183">
                  <c:v>343</c:v>
                </c:pt>
                <c:pt idx="184">
                  <c:v>700</c:v>
                </c:pt>
                <c:pt idx="185">
                  <c:v>16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38-4F6A-9204-1B45B90315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79:$A$497</c:f>
              <c:numCache>
                <c:formatCode>m/d/yyyy</c:formatCode>
                <c:ptCount val="219"/>
                <c:pt idx="0">
                  <c:v>44352</c:v>
                </c:pt>
                <c:pt idx="1">
                  <c:v>44353</c:v>
                </c:pt>
                <c:pt idx="2">
                  <c:v>44354</c:v>
                </c:pt>
                <c:pt idx="3">
                  <c:v>44355</c:v>
                </c:pt>
                <c:pt idx="4">
                  <c:v>44356</c:v>
                </c:pt>
                <c:pt idx="5">
                  <c:v>44357</c:v>
                </c:pt>
                <c:pt idx="6">
                  <c:v>44358</c:v>
                </c:pt>
                <c:pt idx="7">
                  <c:v>44359</c:v>
                </c:pt>
                <c:pt idx="8">
                  <c:v>44360</c:v>
                </c:pt>
                <c:pt idx="9">
                  <c:v>44361</c:v>
                </c:pt>
                <c:pt idx="10">
                  <c:v>44362</c:v>
                </c:pt>
                <c:pt idx="11">
                  <c:v>44363</c:v>
                </c:pt>
                <c:pt idx="12">
                  <c:v>44364</c:v>
                </c:pt>
                <c:pt idx="13">
                  <c:v>44365</c:v>
                </c:pt>
                <c:pt idx="14">
                  <c:v>44366</c:v>
                </c:pt>
                <c:pt idx="15">
                  <c:v>44367</c:v>
                </c:pt>
                <c:pt idx="16">
                  <c:v>44368</c:v>
                </c:pt>
                <c:pt idx="17">
                  <c:v>44369</c:v>
                </c:pt>
                <c:pt idx="18">
                  <c:v>44370</c:v>
                </c:pt>
                <c:pt idx="19">
                  <c:v>44371</c:v>
                </c:pt>
                <c:pt idx="20">
                  <c:v>44372</c:v>
                </c:pt>
                <c:pt idx="21">
                  <c:v>44373</c:v>
                </c:pt>
                <c:pt idx="22">
                  <c:v>44374</c:v>
                </c:pt>
                <c:pt idx="23">
                  <c:v>44375</c:v>
                </c:pt>
                <c:pt idx="24">
                  <c:v>44376</c:v>
                </c:pt>
                <c:pt idx="25">
                  <c:v>44377</c:v>
                </c:pt>
                <c:pt idx="26">
                  <c:v>44378</c:v>
                </c:pt>
                <c:pt idx="27">
                  <c:v>44379</c:v>
                </c:pt>
                <c:pt idx="28">
                  <c:v>44380</c:v>
                </c:pt>
                <c:pt idx="29">
                  <c:v>44381</c:v>
                </c:pt>
                <c:pt idx="30">
                  <c:v>44382</c:v>
                </c:pt>
                <c:pt idx="31">
                  <c:v>44383</c:v>
                </c:pt>
                <c:pt idx="32">
                  <c:v>44384</c:v>
                </c:pt>
                <c:pt idx="33">
                  <c:v>44385</c:v>
                </c:pt>
                <c:pt idx="34">
                  <c:v>44386</c:v>
                </c:pt>
                <c:pt idx="35">
                  <c:v>44387</c:v>
                </c:pt>
                <c:pt idx="36">
                  <c:v>44388</c:v>
                </c:pt>
                <c:pt idx="37">
                  <c:v>44389</c:v>
                </c:pt>
                <c:pt idx="38">
                  <c:v>44390</c:v>
                </c:pt>
                <c:pt idx="39">
                  <c:v>44391</c:v>
                </c:pt>
                <c:pt idx="40">
                  <c:v>44392</c:v>
                </c:pt>
                <c:pt idx="41">
                  <c:v>44393</c:v>
                </c:pt>
                <c:pt idx="42">
                  <c:v>44394</c:v>
                </c:pt>
                <c:pt idx="43">
                  <c:v>44395</c:v>
                </c:pt>
                <c:pt idx="44">
                  <c:v>44396</c:v>
                </c:pt>
                <c:pt idx="45">
                  <c:v>44397</c:v>
                </c:pt>
                <c:pt idx="46">
                  <c:v>44398</c:v>
                </c:pt>
                <c:pt idx="47">
                  <c:v>44399</c:v>
                </c:pt>
                <c:pt idx="48">
                  <c:v>44400</c:v>
                </c:pt>
                <c:pt idx="49">
                  <c:v>44401</c:v>
                </c:pt>
                <c:pt idx="50">
                  <c:v>44402</c:v>
                </c:pt>
                <c:pt idx="51">
                  <c:v>44403</c:v>
                </c:pt>
                <c:pt idx="52">
                  <c:v>44404</c:v>
                </c:pt>
                <c:pt idx="53">
                  <c:v>44405</c:v>
                </c:pt>
                <c:pt idx="54">
                  <c:v>44406</c:v>
                </c:pt>
                <c:pt idx="55">
                  <c:v>44407</c:v>
                </c:pt>
                <c:pt idx="56">
                  <c:v>44408</c:v>
                </c:pt>
                <c:pt idx="57">
                  <c:v>44409</c:v>
                </c:pt>
                <c:pt idx="58">
                  <c:v>44410</c:v>
                </c:pt>
                <c:pt idx="59">
                  <c:v>44411</c:v>
                </c:pt>
                <c:pt idx="60">
                  <c:v>44412</c:v>
                </c:pt>
                <c:pt idx="61">
                  <c:v>44413</c:v>
                </c:pt>
                <c:pt idx="62">
                  <c:v>44414</c:v>
                </c:pt>
                <c:pt idx="63">
                  <c:v>44415</c:v>
                </c:pt>
                <c:pt idx="64">
                  <c:v>44416</c:v>
                </c:pt>
                <c:pt idx="65">
                  <c:v>44417</c:v>
                </c:pt>
                <c:pt idx="66">
                  <c:v>44418</c:v>
                </c:pt>
                <c:pt idx="67">
                  <c:v>44419</c:v>
                </c:pt>
                <c:pt idx="68">
                  <c:v>44420</c:v>
                </c:pt>
                <c:pt idx="69">
                  <c:v>44421</c:v>
                </c:pt>
                <c:pt idx="70">
                  <c:v>44422</c:v>
                </c:pt>
                <c:pt idx="71">
                  <c:v>44423</c:v>
                </c:pt>
                <c:pt idx="72">
                  <c:v>44424</c:v>
                </c:pt>
                <c:pt idx="73">
                  <c:v>44425</c:v>
                </c:pt>
                <c:pt idx="74">
                  <c:v>44426</c:v>
                </c:pt>
                <c:pt idx="75">
                  <c:v>44427</c:v>
                </c:pt>
                <c:pt idx="76">
                  <c:v>44428</c:v>
                </c:pt>
                <c:pt idx="77">
                  <c:v>44429</c:v>
                </c:pt>
                <c:pt idx="78">
                  <c:v>44430</c:v>
                </c:pt>
                <c:pt idx="79">
                  <c:v>44431</c:v>
                </c:pt>
                <c:pt idx="80">
                  <c:v>44432</c:v>
                </c:pt>
                <c:pt idx="81">
                  <c:v>44433</c:v>
                </c:pt>
                <c:pt idx="82">
                  <c:v>44434</c:v>
                </c:pt>
                <c:pt idx="83">
                  <c:v>44435</c:v>
                </c:pt>
                <c:pt idx="84">
                  <c:v>44436</c:v>
                </c:pt>
                <c:pt idx="85">
                  <c:v>44437</c:v>
                </c:pt>
                <c:pt idx="86">
                  <c:v>44438</c:v>
                </c:pt>
                <c:pt idx="87">
                  <c:v>44439</c:v>
                </c:pt>
                <c:pt idx="88">
                  <c:v>44440</c:v>
                </c:pt>
                <c:pt idx="89">
                  <c:v>44441</c:v>
                </c:pt>
                <c:pt idx="90">
                  <c:v>44442</c:v>
                </c:pt>
                <c:pt idx="91">
                  <c:v>44443</c:v>
                </c:pt>
                <c:pt idx="92">
                  <c:v>44444</c:v>
                </c:pt>
                <c:pt idx="93">
                  <c:v>44445</c:v>
                </c:pt>
                <c:pt idx="94">
                  <c:v>44446</c:v>
                </c:pt>
                <c:pt idx="95">
                  <c:v>44447</c:v>
                </c:pt>
                <c:pt idx="96">
                  <c:v>44448</c:v>
                </c:pt>
                <c:pt idx="97">
                  <c:v>44449</c:v>
                </c:pt>
                <c:pt idx="98">
                  <c:v>44450</c:v>
                </c:pt>
                <c:pt idx="99">
                  <c:v>44451</c:v>
                </c:pt>
                <c:pt idx="100">
                  <c:v>44452</c:v>
                </c:pt>
                <c:pt idx="101">
                  <c:v>44453</c:v>
                </c:pt>
                <c:pt idx="102">
                  <c:v>44454</c:v>
                </c:pt>
                <c:pt idx="103">
                  <c:v>44455</c:v>
                </c:pt>
                <c:pt idx="104">
                  <c:v>44456</c:v>
                </c:pt>
                <c:pt idx="105">
                  <c:v>44457</c:v>
                </c:pt>
                <c:pt idx="106">
                  <c:v>44458</c:v>
                </c:pt>
                <c:pt idx="107">
                  <c:v>44459</c:v>
                </c:pt>
                <c:pt idx="108">
                  <c:v>44460</c:v>
                </c:pt>
                <c:pt idx="109">
                  <c:v>44461</c:v>
                </c:pt>
                <c:pt idx="110">
                  <c:v>44462</c:v>
                </c:pt>
                <c:pt idx="111">
                  <c:v>44463</c:v>
                </c:pt>
                <c:pt idx="112">
                  <c:v>44464</c:v>
                </c:pt>
                <c:pt idx="113">
                  <c:v>44465</c:v>
                </c:pt>
                <c:pt idx="114">
                  <c:v>44466</c:v>
                </c:pt>
                <c:pt idx="115">
                  <c:v>44467</c:v>
                </c:pt>
                <c:pt idx="116">
                  <c:v>44468</c:v>
                </c:pt>
                <c:pt idx="117">
                  <c:v>44469</c:v>
                </c:pt>
                <c:pt idx="118">
                  <c:v>44470</c:v>
                </c:pt>
                <c:pt idx="119">
                  <c:v>44471</c:v>
                </c:pt>
                <c:pt idx="120">
                  <c:v>44472</c:v>
                </c:pt>
                <c:pt idx="121">
                  <c:v>44473</c:v>
                </c:pt>
                <c:pt idx="122">
                  <c:v>44474</c:v>
                </c:pt>
                <c:pt idx="123">
                  <c:v>44475</c:v>
                </c:pt>
                <c:pt idx="124">
                  <c:v>44476</c:v>
                </c:pt>
                <c:pt idx="125">
                  <c:v>44477</c:v>
                </c:pt>
                <c:pt idx="126">
                  <c:v>44478</c:v>
                </c:pt>
                <c:pt idx="127">
                  <c:v>44479</c:v>
                </c:pt>
                <c:pt idx="128">
                  <c:v>44480</c:v>
                </c:pt>
                <c:pt idx="129">
                  <c:v>44481</c:v>
                </c:pt>
                <c:pt idx="130">
                  <c:v>44482</c:v>
                </c:pt>
                <c:pt idx="131">
                  <c:v>44483</c:v>
                </c:pt>
                <c:pt idx="132">
                  <c:v>44484</c:v>
                </c:pt>
                <c:pt idx="133">
                  <c:v>44485</c:v>
                </c:pt>
                <c:pt idx="134">
                  <c:v>44486</c:v>
                </c:pt>
                <c:pt idx="135">
                  <c:v>44487</c:v>
                </c:pt>
                <c:pt idx="136">
                  <c:v>44488</c:v>
                </c:pt>
                <c:pt idx="137">
                  <c:v>44489</c:v>
                </c:pt>
                <c:pt idx="138">
                  <c:v>44490</c:v>
                </c:pt>
                <c:pt idx="139">
                  <c:v>44491</c:v>
                </c:pt>
                <c:pt idx="140">
                  <c:v>44492</c:v>
                </c:pt>
                <c:pt idx="141">
                  <c:v>44493</c:v>
                </c:pt>
                <c:pt idx="142">
                  <c:v>44494</c:v>
                </c:pt>
                <c:pt idx="143">
                  <c:v>44495</c:v>
                </c:pt>
                <c:pt idx="144">
                  <c:v>44496</c:v>
                </c:pt>
                <c:pt idx="145">
                  <c:v>44497</c:v>
                </c:pt>
                <c:pt idx="146">
                  <c:v>44498</c:v>
                </c:pt>
                <c:pt idx="147">
                  <c:v>44499</c:v>
                </c:pt>
                <c:pt idx="148">
                  <c:v>44500</c:v>
                </c:pt>
                <c:pt idx="149">
                  <c:v>44501</c:v>
                </c:pt>
                <c:pt idx="150">
                  <c:v>44502</c:v>
                </c:pt>
                <c:pt idx="151">
                  <c:v>44503</c:v>
                </c:pt>
                <c:pt idx="152">
                  <c:v>44504</c:v>
                </c:pt>
                <c:pt idx="153">
                  <c:v>44505</c:v>
                </c:pt>
                <c:pt idx="154">
                  <c:v>44506</c:v>
                </c:pt>
                <c:pt idx="155">
                  <c:v>44507</c:v>
                </c:pt>
                <c:pt idx="156">
                  <c:v>44508</c:v>
                </c:pt>
                <c:pt idx="157">
                  <c:v>44509</c:v>
                </c:pt>
                <c:pt idx="158">
                  <c:v>44510</c:v>
                </c:pt>
                <c:pt idx="159">
                  <c:v>44511</c:v>
                </c:pt>
                <c:pt idx="160">
                  <c:v>44512</c:v>
                </c:pt>
                <c:pt idx="161">
                  <c:v>44513</c:v>
                </c:pt>
                <c:pt idx="162">
                  <c:v>44514</c:v>
                </c:pt>
                <c:pt idx="163">
                  <c:v>44515</c:v>
                </c:pt>
                <c:pt idx="164">
                  <c:v>44516</c:v>
                </c:pt>
                <c:pt idx="165">
                  <c:v>44517</c:v>
                </c:pt>
                <c:pt idx="166">
                  <c:v>44518</c:v>
                </c:pt>
                <c:pt idx="167">
                  <c:v>44519</c:v>
                </c:pt>
                <c:pt idx="168">
                  <c:v>44520</c:v>
                </c:pt>
                <c:pt idx="169">
                  <c:v>44521</c:v>
                </c:pt>
                <c:pt idx="170">
                  <c:v>44522</c:v>
                </c:pt>
                <c:pt idx="171">
                  <c:v>44523</c:v>
                </c:pt>
                <c:pt idx="172">
                  <c:v>44524</c:v>
                </c:pt>
                <c:pt idx="173">
                  <c:v>44525</c:v>
                </c:pt>
                <c:pt idx="174">
                  <c:v>44526</c:v>
                </c:pt>
                <c:pt idx="175">
                  <c:v>44527</c:v>
                </c:pt>
                <c:pt idx="176">
                  <c:v>44528</c:v>
                </c:pt>
                <c:pt idx="177">
                  <c:v>44529</c:v>
                </c:pt>
                <c:pt idx="178">
                  <c:v>44530</c:v>
                </c:pt>
                <c:pt idx="179">
                  <c:v>44531</c:v>
                </c:pt>
                <c:pt idx="180">
                  <c:v>44532</c:v>
                </c:pt>
                <c:pt idx="181">
                  <c:v>44533</c:v>
                </c:pt>
                <c:pt idx="182">
                  <c:v>44534</c:v>
                </c:pt>
                <c:pt idx="183">
                  <c:v>44535</c:v>
                </c:pt>
                <c:pt idx="184">
                  <c:v>44536</c:v>
                </c:pt>
                <c:pt idx="185">
                  <c:v>44537</c:v>
                </c:pt>
                <c:pt idx="186">
                  <c:v>44538</c:v>
                </c:pt>
                <c:pt idx="187">
                  <c:v>44539</c:v>
                </c:pt>
                <c:pt idx="188">
                  <c:v>44540</c:v>
                </c:pt>
                <c:pt idx="189">
                  <c:v>44541</c:v>
                </c:pt>
                <c:pt idx="190">
                  <c:v>44542</c:v>
                </c:pt>
                <c:pt idx="191">
                  <c:v>44543</c:v>
                </c:pt>
                <c:pt idx="192">
                  <c:v>44544</c:v>
                </c:pt>
                <c:pt idx="193">
                  <c:v>44545</c:v>
                </c:pt>
                <c:pt idx="194">
                  <c:v>44546</c:v>
                </c:pt>
                <c:pt idx="195">
                  <c:v>44547</c:v>
                </c:pt>
                <c:pt idx="196">
                  <c:v>44548</c:v>
                </c:pt>
                <c:pt idx="197">
                  <c:v>44549</c:v>
                </c:pt>
                <c:pt idx="198">
                  <c:v>44550</c:v>
                </c:pt>
                <c:pt idx="199">
                  <c:v>44551</c:v>
                </c:pt>
                <c:pt idx="200">
                  <c:v>44552</c:v>
                </c:pt>
                <c:pt idx="201">
                  <c:v>44553</c:v>
                </c:pt>
                <c:pt idx="202">
                  <c:v>44554</c:v>
                </c:pt>
                <c:pt idx="203">
                  <c:v>44555</c:v>
                </c:pt>
                <c:pt idx="204">
                  <c:v>44556</c:v>
                </c:pt>
                <c:pt idx="205">
                  <c:v>44557</c:v>
                </c:pt>
                <c:pt idx="206">
                  <c:v>44558</c:v>
                </c:pt>
                <c:pt idx="207">
                  <c:v>44559</c:v>
                </c:pt>
                <c:pt idx="208">
                  <c:v>44560</c:v>
                </c:pt>
                <c:pt idx="209">
                  <c:v>44561</c:v>
                </c:pt>
                <c:pt idx="210">
                  <c:v>44562</c:v>
                </c:pt>
                <c:pt idx="211">
                  <c:v>44563</c:v>
                </c:pt>
                <c:pt idx="212">
                  <c:v>44564</c:v>
                </c:pt>
                <c:pt idx="213">
                  <c:v>44565</c:v>
                </c:pt>
                <c:pt idx="214">
                  <c:v>44566</c:v>
                </c:pt>
                <c:pt idx="215">
                  <c:v>44567</c:v>
                </c:pt>
                <c:pt idx="216">
                  <c:v>44568</c:v>
                </c:pt>
                <c:pt idx="217">
                  <c:v>44569</c:v>
                </c:pt>
                <c:pt idx="218">
                  <c:v>44570</c:v>
                </c:pt>
              </c:numCache>
            </c:numRef>
          </c:cat>
          <c:val>
            <c:numRef>
              <c:f>Sheet1!$C$279:$C$497</c:f>
              <c:numCache>
                <c:formatCode>General</c:formatCode>
                <c:ptCount val="21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838-4F6A-9204-1B45B90315E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79:$A$497</c:f>
              <c:numCache>
                <c:formatCode>m/d/yyyy</c:formatCode>
                <c:ptCount val="219"/>
                <c:pt idx="0">
                  <c:v>44352</c:v>
                </c:pt>
                <c:pt idx="1">
                  <c:v>44353</c:v>
                </c:pt>
                <c:pt idx="2">
                  <c:v>44354</c:v>
                </c:pt>
                <c:pt idx="3">
                  <c:v>44355</c:v>
                </c:pt>
                <c:pt idx="4">
                  <c:v>44356</c:v>
                </c:pt>
                <c:pt idx="5">
                  <c:v>44357</c:v>
                </c:pt>
                <c:pt idx="6">
                  <c:v>44358</c:v>
                </c:pt>
                <c:pt idx="7">
                  <c:v>44359</c:v>
                </c:pt>
                <c:pt idx="8">
                  <c:v>44360</c:v>
                </c:pt>
                <c:pt idx="9">
                  <c:v>44361</c:v>
                </c:pt>
                <c:pt idx="10">
                  <c:v>44362</c:v>
                </c:pt>
                <c:pt idx="11">
                  <c:v>44363</c:v>
                </c:pt>
                <c:pt idx="12">
                  <c:v>44364</c:v>
                </c:pt>
                <c:pt idx="13">
                  <c:v>44365</c:v>
                </c:pt>
                <c:pt idx="14">
                  <c:v>44366</c:v>
                </c:pt>
                <c:pt idx="15">
                  <c:v>44367</c:v>
                </c:pt>
                <c:pt idx="16">
                  <c:v>44368</c:v>
                </c:pt>
                <c:pt idx="17">
                  <c:v>44369</c:v>
                </c:pt>
                <c:pt idx="18">
                  <c:v>44370</c:v>
                </c:pt>
                <c:pt idx="19">
                  <c:v>44371</c:v>
                </c:pt>
                <c:pt idx="20">
                  <c:v>44372</c:v>
                </c:pt>
                <c:pt idx="21">
                  <c:v>44373</c:v>
                </c:pt>
                <c:pt idx="22">
                  <c:v>44374</c:v>
                </c:pt>
                <c:pt idx="23">
                  <c:v>44375</c:v>
                </c:pt>
                <c:pt idx="24">
                  <c:v>44376</c:v>
                </c:pt>
                <c:pt idx="25">
                  <c:v>44377</c:v>
                </c:pt>
                <c:pt idx="26">
                  <c:v>44378</c:v>
                </c:pt>
                <c:pt idx="27">
                  <c:v>44379</c:v>
                </c:pt>
                <c:pt idx="28">
                  <c:v>44380</c:v>
                </c:pt>
                <c:pt idx="29">
                  <c:v>44381</c:v>
                </c:pt>
                <c:pt idx="30">
                  <c:v>44382</c:v>
                </c:pt>
                <c:pt idx="31">
                  <c:v>44383</c:v>
                </c:pt>
                <c:pt idx="32">
                  <c:v>44384</c:v>
                </c:pt>
                <c:pt idx="33">
                  <c:v>44385</c:v>
                </c:pt>
                <c:pt idx="34">
                  <c:v>44386</c:v>
                </c:pt>
                <c:pt idx="35">
                  <c:v>44387</c:v>
                </c:pt>
                <c:pt idx="36">
                  <c:v>44388</c:v>
                </c:pt>
                <c:pt idx="37">
                  <c:v>44389</c:v>
                </c:pt>
                <c:pt idx="38">
                  <c:v>44390</c:v>
                </c:pt>
                <c:pt idx="39">
                  <c:v>44391</c:v>
                </c:pt>
                <c:pt idx="40">
                  <c:v>44392</c:v>
                </c:pt>
                <c:pt idx="41">
                  <c:v>44393</c:v>
                </c:pt>
                <c:pt idx="42">
                  <c:v>44394</c:v>
                </c:pt>
                <c:pt idx="43">
                  <c:v>44395</c:v>
                </c:pt>
                <c:pt idx="44">
                  <c:v>44396</c:v>
                </c:pt>
                <c:pt idx="45">
                  <c:v>44397</c:v>
                </c:pt>
                <c:pt idx="46">
                  <c:v>44398</c:v>
                </c:pt>
                <c:pt idx="47">
                  <c:v>44399</c:v>
                </c:pt>
                <c:pt idx="48">
                  <c:v>44400</c:v>
                </c:pt>
                <c:pt idx="49">
                  <c:v>44401</c:v>
                </c:pt>
                <c:pt idx="50">
                  <c:v>44402</c:v>
                </c:pt>
                <c:pt idx="51">
                  <c:v>44403</c:v>
                </c:pt>
                <c:pt idx="52">
                  <c:v>44404</c:v>
                </c:pt>
                <c:pt idx="53">
                  <c:v>44405</c:v>
                </c:pt>
                <c:pt idx="54">
                  <c:v>44406</c:v>
                </c:pt>
                <c:pt idx="55">
                  <c:v>44407</c:v>
                </c:pt>
                <c:pt idx="56">
                  <c:v>44408</c:v>
                </c:pt>
                <c:pt idx="57">
                  <c:v>44409</c:v>
                </c:pt>
                <c:pt idx="58">
                  <c:v>44410</c:v>
                </c:pt>
                <c:pt idx="59">
                  <c:v>44411</c:v>
                </c:pt>
                <c:pt idx="60">
                  <c:v>44412</c:v>
                </c:pt>
                <c:pt idx="61">
                  <c:v>44413</c:v>
                </c:pt>
                <c:pt idx="62">
                  <c:v>44414</c:v>
                </c:pt>
                <c:pt idx="63">
                  <c:v>44415</c:v>
                </c:pt>
                <c:pt idx="64">
                  <c:v>44416</c:v>
                </c:pt>
                <c:pt idx="65">
                  <c:v>44417</c:v>
                </c:pt>
                <c:pt idx="66">
                  <c:v>44418</c:v>
                </c:pt>
                <c:pt idx="67">
                  <c:v>44419</c:v>
                </c:pt>
                <c:pt idx="68">
                  <c:v>44420</c:v>
                </c:pt>
                <c:pt idx="69">
                  <c:v>44421</c:v>
                </c:pt>
                <c:pt idx="70">
                  <c:v>44422</c:v>
                </c:pt>
                <c:pt idx="71">
                  <c:v>44423</c:v>
                </c:pt>
                <c:pt idx="72">
                  <c:v>44424</c:v>
                </c:pt>
                <c:pt idx="73">
                  <c:v>44425</c:v>
                </c:pt>
                <c:pt idx="74">
                  <c:v>44426</c:v>
                </c:pt>
                <c:pt idx="75">
                  <c:v>44427</c:v>
                </c:pt>
                <c:pt idx="76">
                  <c:v>44428</c:v>
                </c:pt>
                <c:pt idx="77">
                  <c:v>44429</c:v>
                </c:pt>
                <c:pt idx="78">
                  <c:v>44430</c:v>
                </c:pt>
                <c:pt idx="79">
                  <c:v>44431</c:v>
                </c:pt>
                <c:pt idx="80">
                  <c:v>44432</c:v>
                </c:pt>
                <c:pt idx="81">
                  <c:v>44433</c:v>
                </c:pt>
                <c:pt idx="82">
                  <c:v>44434</c:v>
                </c:pt>
                <c:pt idx="83">
                  <c:v>44435</c:v>
                </c:pt>
                <c:pt idx="84">
                  <c:v>44436</c:v>
                </c:pt>
                <c:pt idx="85">
                  <c:v>44437</c:v>
                </c:pt>
                <c:pt idx="86">
                  <c:v>44438</c:v>
                </c:pt>
                <c:pt idx="87">
                  <c:v>44439</c:v>
                </c:pt>
                <c:pt idx="88">
                  <c:v>44440</c:v>
                </c:pt>
                <c:pt idx="89">
                  <c:v>44441</c:v>
                </c:pt>
                <c:pt idx="90">
                  <c:v>44442</c:v>
                </c:pt>
                <c:pt idx="91">
                  <c:v>44443</c:v>
                </c:pt>
                <c:pt idx="92">
                  <c:v>44444</c:v>
                </c:pt>
                <c:pt idx="93">
                  <c:v>44445</c:v>
                </c:pt>
                <c:pt idx="94">
                  <c:v>44446</c:v>
                </c:pt>
                <c:pt idx="95">
                  <c:v>44447</c:v>
                </c:pt>
                <c:pt idx="96">
                  <c:v>44448</c:v>
                </c:pt>
                <c:pt idx="97">
                  <c:v>44449</c:v>
                </c:pt>
                <c:pt idx="98">
                  <c:v>44450</c:v>
                </c:pt>
                <c:pt idx="99">
                  <c:v>44451</c:v>
                </c:pt>
                <c:pt idx="100">
                  <c:v>44452</c:v>
                </c:pt>
                <c:pt idx="101">
                  <c:v>44453</c:v>
                </c:pt>
                <c:pt idx="102">
                  <c:v>44454</c:v>
                </c:pt>
                <c:pt idx="103">
                  <c:v>44455</c:v>
                </c:pt>
                <c:pt idx="104">
                  <c:v>44456</c:v>
                </c:pt>
                <c:pt idx="105">
                  <c:v>44457</c:v>
                </c:pt>
                <c:pt idx="106">
                  <c:v>44458</c:v>
                </c:pt>
                <c:pt idx="107">
                  <c:v>44459</c:v>
                </c:pt>
                <c:pt idx="108">
                  <c:v>44460</c:v>
                </c:pt>
                <c:pt idx="109">
                  <c:v>44461</c:v>
                </c:pt>
                <c:pt idx="110">
                  <c:v>44462</c:v>
                </c:pt>
                <c:pt idx="111">
                  <c:v>44463</c:v>
                </c:pt>
                <c:pt idx="112">
                  <c:v>44464</c:v>
                </c:pt>
                <c:pt idx="113">
                  <c:v>44465</c:v>
                </c:pt>
                <c:pt idx="114">
                  <c:v>44466</c:v>
                </c:pt>
                <c:pt idx="115">
                  <c:v>44467</c:v>
                </c:pt>
                <c:pt idx="116">
                  <c:v>44468</c:v>
                </c:pt>
                <c:pt idx="117">
                  <c:v>44469</c:v>
                </c:pt>
                <c:pt idx="118">
                  <c:v>44470</c:v>
                </c:pt>
                <c:pt idx="119">
                  <c:v>44471</c:v>
                </c:pt>
                <c:pt idx="120">
                  <c:v>44472</c:v>
                </c:pt>
                <c:pt idx="121">
                  <c:v>44473</c:v>
                </c:pt>
                <c:pt idx="122">
                  <c:v>44474</c:v>
                </c:pt>
                <c:pt idx="123">
                  <c:v>44475</c:v>
                </c:pt>
                <c:pt idx="124">
                  <c:v>44476</c:v>
                </c:pt>
                <c:pt idx="125">
                  <c:v>44477</c:v>
                </c:pt>
                <c:pt idx="126">
                  <c:v>44478</c:v>
                </c:pt>
                <c:pt idx="127">
                  <c:v>44479</c:v>
                </c:pt>
                <c:pt idx="128">
                  <c:v>44480</c:v>
                </c:pt>
                <c:pt idx="129">
                  <c:v>44481</c:v>
                </c:pt>
                <c:pt idx="130">
                  <c:v>44482</c:v>
                </c:pt>
                <c:pt idx="131">
                  <c:v>44483</c:v>
                </c:pt>
                <c:pt idx="132">
                  <c:v>44484</c:v>
                </c:pt>
                <c:pt idx="133">
                  <c:v>44485</c:v>
                </c:pt>
                <c:pt idx="134">
                  <c:v>44486</c:v>
                </c:pt>
                <c:pt idx="135">
                  <c:v>44487</c:v>
                </c:pt>
                <c:pt idx="136">
                  <c:v>44488</c:v>
                </c:pt>
                <c:pt idx="137">
                  <c:v>44489</c:v>
                </c:pt>
                <c:pt idx="138">
                  <c:v>44490</c:v>
                </c:pt>
                <c:pt idx="139">
                  <c:v>44491</c:v>
                </c:pt>
                <c:pt idx="140">
                  <c:v>44492</c:v>
                </c:pt>
                <c:pt idx="141">
                  <c:v>44493</c:v>
                </c:pt>
                <c:pt idx="142">
                  <c:v>44494</c:v>
                </c:pt>
                <c:pt idx="143">
                  <c:v>44495</c:v>
                </c:pt>
                <c:pt idx="144">
                  <c:v>44496</c:v>
                </c:pt>
                <c:pt idx="145">
                  <c:v>44497</c:v>
                </c:pt>
                <c:pt idx="146">
                  <c:v>44498</c:v>
                </c:pt>
                <c:pt idx="147">
                  <c:v>44499</c:v>
                </c:pt>
                <c:pt idx="148">
                  <c:v>44500</c:v>
                </c:pt>
                <c:pt idx="149">
                  <c:v>44501</c:v>
                </c:pt>
                <c:pt idx="150">
                  <c:v>44502</c:v>
                </c:pt>
                <c:pt idx="151">
                  <c:v>44503</c:v>
                </c:pt>
                <c:pt idx="152">
                  <c:v>44504</c:v>
                </c:pt>
                <c:pt idx="153">
                  <c:v>44505</c:v>
                </c:pt>
                <c:pt idx="154">
                  <c:v>44506</c:v>
                </c:pt>
                <c:pt idx="155">
                  <c:v>44507</c:v>
                </c:pt>
                <c:pt idx="156">
                  <c:v>44508</c:v>
                </c:pt>
                <c:pt idx="157">
                  <c:v>44509</c:v>
                </c:pt>
                <c:pt idx="158">
                  <c:v>44510</c:v>
                </c:pt>
                <c:pt idx="159">
                  <c:v>44511</c:v>
                </c:pt>
                <c:pt idx="160">
                  <c:v>44512</c:v>
                </c:pt>
                <c:pt idx="161">
                  <c:v>44513</c:v>
                </c:pt>
                <c:pt idx="162">
                  <c:v>44514</c:v>
                </c:pt>
                <c:pt idx="163">
                  <c:v>44515</c:v>
                </c:pt>
                <c:pt idx="164">
                  <c:v>44516</c:v>
                </c:pt>
                <c:pt idx="165">
                  <c:v>44517</c:v>
                </c:pt>
                <c:pt idx="166">
                  <c:v>44518</c:v>
                </c:pt>
                <c:pt idx="167">
                  <c:v>44519</c:v>
                </c:pt>
                <c:pt idx="168">
                  <c:v>44520</c:v>
                </c:pt>
                <c:pt idx="169">
                  <c:v>44521</c:v>
                </c:pt>
                <c:pt idx="170">
                  <c:v>44522</c:v>
                </c:pt>
                <c:pt idx="171">
                  <c:v>44523</c:v>
                </c:pt>
                <c:pt idx="172">
                  <c:v>44524</c:v>
                </c:pt>
                <c:pt idx="173">
                  <c:v>44525</c:v>
                </c:pt>
                <c:pt idx="174">
                  <c:v>44526</c:v>
                </c:pt>
                <c:pt idx="175">
                  <c:v>44527</c:v>
                </c:pt>
                <c:pt idx="176">
                  <c:v>44528</c:v>
                </c:pt>
                <c:pt idx="177">
                  <c:v>44529</c:v>
                </c:pt>
                <c:pt idx="178">
                  <c:v>44530</c:v>
                </c:pt>
                <c:pt idx="179">
                  <c:v>44531</c:v>
                </c:pt>
                <c:pt idx="180">
                  <c:v>44532</c:v>
                </c:pt>
                <c:pt idx="181">
                  <c:v>44533</c:v>
                </c:pt>
                <c:pt idx="182">
                  <c:v>44534</c:v>
                </c:pt>
                <c:pt idx="183">
                  <c:v>44535</c:v>
                </c:pt>
                <c:pt idx="184">
                  <c:v>44536</c:v>
                </c:pt>
                <c:pt idx="185">
                  <c:v>44537</c:v>
                </c:pt>
                <c:pt idx="186">
                  <c:v>44538</c:v>
                </c:pt>
                <c:pt idx="187">
                  <c:v>44539</c:v>
                </c:pt>
                <c:pt idx="188">
                  <c:v>44540</c:v>
                </c:pt>
                <c:pt idx="189">
                  <c:v>44541</c:v>
                </c:pt>
                <c:pt idx="190">
                  <c:v>44542</c:v>
                </c:pt>
                <c:pt idx="191">
                  <c:v>44543</c:v>
                </c:pt>
                <c:pt idx="192">
                  <c:v>44544</c:v>
                </c:pt>
                <c:pt idx="193">
                  <c:v>44545</c:v>
                </c:pt>
                <c:pt idx="194">
                  <c:v>44546</c:v>
                </c:pt>
                <c:pt idx="195">
                  <c:v>44547</c:v>
                </c:pt>
                <c:pt idx="196">
                  <c:v>44548</c:v>
                </c:pt>
                <c:pt idx="197">
                  <c:v>44549</c:v>
                </c:pt>
                <c:pt idx="198">
                  <c:v>44550</c:v>
                </c:pt>
                <c:pt idx="199">
                  <c:v>44551</c:v>
                </c:pt>
                <c:pt idx="200">
                  <c:v>44552</c:v>
                </c:pt>
                <c:pt idx="201">
                  <c:v>44553</c:v>
                </c:pt>
                <c:pt idx="202">
                  <c:v>44554</c:v>
                </c:pt>
                <c:pt idx="203">
                  <c:v>44555</c:v>
                </c:pt>
                <c:pt idx="204">
                  <c:v>44556</c:v>
                </c:pt>
                <c:pt idx="205">
                  <c:v>44557</c:v>
                </c:pt>
                <c:pt idx="206">
                  <c:v>44558</c:v>
                </c:pt>
                <c:pt idx="207">
                  <c:v>44559</c:v>
                </c:pt>
                <c:pt idx="208">
                  <c:v>44560</c:v>
                </c:pt>
                <c:pt idx="209">
                  <c:v>44561</c:v>
                </c:pt>
                <c:pt idx="210">
                  <c:v>44562</c:v>
                </c:pt>
                <c:pt idx="211">
                  <c:v>44563</c:v>
                </c:pt>
                <c:pt idx="212">
                  <c:v>44564</c:v>
                </c:pt>
                <c:pt idx="213">
                  <c:v>44565</c:v>
                </c:pt>
                <c:pt idx="214">
                  <c:v>44566</c:v>
                </c:pt>
                <c:pt idx="215">
                  <c:v>44567</c:v>
                </c:pt>
                <c:pt idx="216">
                  <c:v>44568</c:v>
                </c:pt>
                <c:pt idx="217">
                  <c:v>44569</c:v>
                </c:pt>
                <c:pt idx="218">
                  <c:v>44570</c:v>
                </c:pt>
              </c:numCache>
            </c:numRef>
          </c:cat>
          <c:val>
            <c:numRef>
              <c:f>Sheet1!$D$279:$D$497</c:f>
              <c:numCache>
                <c:formatCode>General</c:formatCode>
                <c:ptCount val="219"/>
                <c:pt idx="38">
                  <c:v>0</c:v>
                </c:pt>
                <c:pt idx="181">
                  <c:v>1425</c:v>
                </c:pt>
                <c:pt idx="182">
                  <c:v>1385</c:v>
                </c:pt>
                <c:pt idx="183">
                  <c:v>1356</c:v>
                </c:pt>
                <c:pt idx="184">
                  <c:v>1339</c:v>
                </c:pt>
                <c:pt idx="185">
                  <c:v>1320</c:v>
                </c:pt>
                <c:pt idx="186">
                  <c:v>1301</c:v>
                </c:pt>
                <c:pt idx="187">
                  <c:v>1277</c:v>
                </c:pt>
                <c:pt idx="188">
                  <c:v>1246</c:v>
                </c:pt>
                <c:pt idx="189">
                  <c:v>1222</c:v>
                </c:pt>
                <c:pt idx="190">
                  <c:v>1202</c:v>
                </c:pt>
                <c:pt idx="191">
                  <c:v>1184</c:v>
                </c:pt>
                <c:pt idx="192">
                  <c:v>1163</c:v>
                </c:pt>
                <c:pt idx="193">
                  <c:v>1141</c:v>
                </c:pt>
                <c:pt idx="194">
                  <c:v>1119</c:v>
                </c:pt>
                <c:pt idx="195">
                  <c:v>1098</c:v>
                </c:pt>
                <c:pt idx="196">
                  <c:v>1079</c:v>
                </c:pt>
                <c:pt idx="197">
                  <c:v>1061</c:v>
                </c:pt>
                <c:pt idx="198">
                  <c:v>1043</c:v>
                </c:pt>
                <c:pt idx="199">
                  <c:v>1023</c:v>
                </c:pt>
                <c:pt idx="200">
                  <c:v>1004</c:v>
                </c:pt>
                <c:pt idx="201">
                  <c:v>986</c:v>
                </c:pt>
                <c:pt idx="202">
                  <c:v>969</c:v>
                </c:pt>
                <c:pt idx="203">
                  <c:v>952</c:v>
                </c:pt>
                <c:pt idx="204">
                  <c:v>935</c:v>
                </c:pt>
                <c:pt idx="205">
                  <c:v>918</c:v>
                </c:pt>
                <c:pt idx="206">
                  <c:v>902</c:v>
                </c:pt>
                <c:pt idx="207">
                  <c:v>886</c:v>
                </c:pt>
                <c:pt idx="208">
                  <c:v>871</c:v>
                </c:pt>
                <c:pt idx="209">
                  <c:v>855</c:v>
                </c:pt>
                <c:pt idx="210">
                  <c:v>840</c:v>
                </c:pt>
                <c:pt idx="211">
                  <c:v>825</c:v>
                </c:pt>
                <c:pt idx="212">
                  <c:v>811</c:v>
                </c:pt>
                <c:pt idx="213">
                  <c:v>796</c:v>
                </c:pt>
                <c:pt idx="214">
                  <c:v>783</c:v>
                </c:pt>
                <c:pt idx="215">
                  <c:v>769</c:v>
                </c:pt>
                <c:pt idx="216">
                  <c:v>755</c:v>
                </c:pt>
                <c:pt idx="217">
                  <c:v>742</c:v>
                </c:pt>
                <c:pt idx="218">
                  <c:v>7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838-4F6A-9204-1B45B90315E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79:$A$497</c:f>
              <c:numCache>
                <c:formatCode>m/d/yyyy</c:formatCode>
                <c:ptCount val="219"/>
                <c:pt idx="0">
                  <c:v>44352</c:v>
                </c:pt>
                <c:pt idx="1">
                  <c:v>44353</c:v>
                </c:pt>
                <c:pt idx="2">
                  <c:v>44354</c:v>
                </c:pt>
                <c:pt idx="3">
                  <c:v>44355</c:v>
                </c:pt>
                <c:pt idx="4">
                  <c:v>44356</c:v>
                </c:pt>
                <c:pt idx="5">
                  <c:v>44357</c:v>
                </c:pt>
                <c:pt idx="6">
                  <c:v>44358</c:v>
                </c:pt>
                <c:pt idx="7">
                  <c:v>44359</c:v>
                </c:pt>
                <c:pt idx="8">
                  <c:v>44360</c:v>
                </c:pt>
                <c:pt idx="9">
                  <c:v>44361</c:v>
                </c:pt>
                <c:pt idx="10">
                  <c:v>44362</c:v>
                </c:pt>
                <c:pt idx="11">
                  <c:v>44363</c:v>
                </c:pt>
                <c:pt idx="12">
                  <c:v>44364</c:v>
                </c:pt>
                <c:pt idx="13">
                  <c:v>44365</c:v>
                </c:pt>
                <c:pt idx="14">
                  <c:v>44366</c:v>
                </c:pt>
                <c:pt idx="15">
                  <c:v>44367</c:v>
                </c:pt>
                <c:pt idx="16">
                  <c:v>44368</c:v>
                </c:pt>
                <c:pt idx="17">
                  <c:v>44369</c:v>
                </c:pt>
                <c:pt idx="18">
                  <c:v>44370</c:v>
                </c:pt>
                <c:pt idx="19">
                  <c:v>44371</c:v>
                </c:pt>
                <c:pt idx="20">
                  <c:v>44372</c:v>
                </c:pt>
                <c:pt idx="21">
                  <c:v>44373</c:v>
                </c:pt>
                <c:pt idx="22">
                  <c:v>44374</c:v>
                </c:pt>
                <c:pt idx="23">
                  <c:v>44375</c:v>
                </c:pt>
                <c:pt idx="24">
                  <c:v>44376</c:v>
                </c:pt>
                <c:pt idx="25">
                  <c:v>44377</c:v>
                </c:pt>
                <c:pt idx="26">
                  <c:v>44378</c:v>
                </c:pt>
                <c:pt idx="27">
                  <c:v>44379</c:v>
                </c:pt>
                <c:pt idx="28">
                  <c:v>44380</c:v>
                </c:pt>
                <c:pt idx="29">
                  <c:v>44381</c:v>
                </c:pt>
                <c:pt idx="30">
                  <c:v>44382</c:v>
                </c:pt>
                <c:pt idx="31">
                  <c:v>44383</c:v>
                </c:pt>
                <c:pt idx="32">
                  <c:v>44384</c:v>
                </c:pt>
                <c:pt idx="33">
                  <c:v>44385</c:v>
                </c:pt>
                <c:pt idx="34">
                  <c:v>44386</c:v>
                </c:pt>
                <c:pt idx="35">
                  <c:v>44387</c:v>
                </c:pt>
                <c:pt idx="36">
                  <c:v>44388</c:v>
                </c:pt>
                <c:pt idx="37">
                  <c:v>44389</c:v>
                </c:pt>
                <c:pt idx="38">
                  <c:v>44390</c:v>
                </c:pt>
                <c:pt idx="39">
                  <c:v>44391</c:v>
                </c:pt>
                <c:pt idx="40">
                  <c:v>44392</c:v>
                </c:pt>
                <c:pt idx="41">
                  <c:v>44393</c:v>
                </c:pt>
                <c:pt idx="42">
                  <c:v>44394</c:v>
                </c:pt>
                <c:pt idx="43">
                  <c:v>44395</c:v>
                </c:pt>
                <c:pt idx="44">
                  <c:v>44396</c:v>
                </c:pt>
                <c:pt idx="45">
                  <c:v>44397</c:v>
                </c:pt>
                <c:pt idx="46">
                  <c:v>44398</c:v>
                </c:pt>
                <c:pt idx="47">
                  <c:v>44399</c:v>
                </c:pt>
                <c:pt idx="48">
                  <c:v>44400</c:v>
                </c:pt>
                <c:pt idx="49">
                  <c:v>44401</c:v>
                </c:pt>
                <c:pt idx="50">
                  <c:v>44402</c:v>
                </c:pt>
                <c:pt idx="51">
                  <c:v>44403</c:v>
                </c:pt>
                <c:pt idx="52">
                  <c:v>44404</c:v>
                </c:pt>
                <c:pt idx="53">
                  <c:v>44405</c:v>
                </c:pt>
                <c:pt idx="54">
                  <c:v>44406</c:v>
                </c:pt>
                <c:pt idx="55">
                  <c:v>44407</c:v>
                </c:pt>
                <c:pt idx="56">
                  <c:v>44408</c:v>
                </c:pt>
                <c:pt idx="57">
                  <c:v>44409</c:v>
                </c:pt>
                <c:pt idx="58">
                  <c:v>44410</c:v>
                </c:pt>
                <c:pt idx="59">
                  <c:v>44411</c:v>
                </c:pt>
                <c:pt idx="60">
                  <c:v>44412</c:v>
                </c:pt>
                <c:pt idx="61">
                  <c:v>44413</c:v>
                </c:pt>
                <c:pt idx="62">
                  <c:v>44414</c:v>
                </c:pt>
                <c:pt idx="63">
                  <c:v>44415</c:v>
                </c:pt>
                <c:pt idx="64">
                  <c:v>44416</c:v>
                </c:pt>
                <c:pt idx="65">
                  <c:v>44417</c:v>
                </c:pt>
                <c:pt idx="66">
                  <c:v>44418</c:v>
                </c:pt>
                <c:pt idx="67">
                  <c:v>44419</c:v>
                </c:pt>
                <c:pt idx="68">
                  <c:v>44420</c:v>
                </c:pt>
                <c:pt idx="69">
                  <c:v>44421</c:v>
                </c:pt>
                <c:pt idx="70">
                  <c:v>44422</c:v>
                </c:pt>
                <c:pt idx="71">
                  <c:v>44423</c:v>
                </c:pt>
                <c:pt idx="72">
                  <c:v>44424</c:v>
                </c:pt>
                <c:pt idx="73">
                  <c:v>44425</c:v>
                </c:pt>
                <c:pt idx="74">
                  <c:v>44426</c:v>
                </c:pt>
                <c:pt idx="75">
                  <c:v>44427</c:v>
                </c:pt>
                <c:pt idx="76">
                  <c:v>44428</c:v>
                </c:pt>
                <c:pt idx="77">
                  <c:v>44429</c:v>
                </c:pt>
                <c:pt idx="78">
                  <c:v>44430</c:v>
                </c:pt>
                <c:pt idx="79">
                  <c:v>44431</c:v>
                </c:pt>
                <c:pt idx="80">
                  <c:v>44432</c:v>
                </c:pt>
                <c:pt idx="81">
                  <c:v>44433</c:v>
                </c:pt>
                <c:pt idx="82">
                  <c:v>44434</c:v>
                </c:pt>
                <c:pt idx="83">
                  <c:v>44435</c:v>
                </c:pt>
                <c:pt idx="84">
                  <c:v>44436</c:v>
                </c:pt>
                <c:pt idx="85">
                  <c:v>44437</c:v>
                </c:pt>
                <c:pt idx="86">
                  <c:v>44438</c:v>
                </c:pt>
                <c:pt idx="87">
                  <c:v>44439</c:v>
                </c:pt>
                <c:pt idx="88">
                  <c:v>44440</c:v>
                </c:pt>
                <c:pt idx="89">
                  <c:v>44441</c:v>
                </c:pt>
                <c:pt idx="90">
                  <c:v>44442</c:v>
                </c:pt>
                <c:pt idx="91">
                  <c:v>44443</c:v>
                </c:pt>
                <c:pt idx="92">
                  <c:v>44444</c:v>
                </c:pt>
                <c:pt idx="93">
                  <c:v>44445</c:v>
                </c:pt>
                <c:pt idx="94">
                  <c:v>44446</c:v>
                </c:pt>
                <c:pt idx="95">
                  <c:v>44447</c:v>
                </c:pt>
                <c:pt idx="96">
                  <c:v>44448</c:v>
                </c:pt>
                <c:pt idx="97">
                  <c:v>44449</c:v>
                </c:pt>
                <c:pt idx="98">
                  <c:v>44450</c:v>
                </c:pt>
                <c:pt idx="99">
                  <c:v>44451</c:v>
                </c:pt>
                <c:pt idx="100">
                  <c:v>44452</c:v>
                </c:pt>
                <c:pt idx="101">
                  <c:v>44453</c:v>
                </c:pt>
                <c:pt idx="102">
                  <c:v>44454</c:v>
                </c:pt>
                <c:pt idx="103">
                  <c:v>44455</c:v>
                </c:pt>
                <c:pt idx="104">
                  <c:v>44456</c:v>
                </c:pt>
                <c:pt idx="105">
                  <c:v>44457</c:v>
                </c:pt>
                <c:pt idx="106">
                  <c:v>44458</c:v>
                </c:pt>
                <c:pt idx="107">
                  <c:v>44459</c:v>
                </c:pt>
                <c:pt idx="108">
                  <c:v>44460</c:v>
                </c:pt>
                <c:pt idx="109">
                  <c:v>44461</c:v>
                </c:pt>
                <c:pt idx="110">
                  <c:v>44462</c:v>
                </c:pt>
                <c:pt idx="111">
                  <c:v>44463</c:v>
                </c:pt>
                <c:pt idx="112">
                  <c:v>44464</c:v>
                </c:pt>
                <c:pt idx="113">
                  <c:v>44465</c:v>
                </c:pt>
                <c:pt idx="114">
                  <c:v>44466</c:v>
                </c:pt>
                <c:pt idx="115">
                  <c:v>44467</c:v>
                </c:pt>
                <c:pt idx="116">
                  <c:v>44468</c:v>
                </c:pt>
                <c:pt idx="117">
                  <c:v>44469</c:v>
                </c:pt>
                <c:pt idx="118">
                  <c:v>44470</c:v>
                </c:pt>
                <c:pt idx="119">
                  <c:v>44471</c:v>
                </c:pt>
                <c:pt idx="120">
                  <c:v>44472</c:v>
                </c:pt>
                <c:pt idx="121">
                  <c:v>44473</c:v>
                </c:pt>
                <c:pt idx="122">
                  <c:v>44474</c:v>
                </c:pt>
                <c:pt idx="123">
                  <c:v>44475</c:v>
                </c:pt>
                <c:pt idx="124">
                  <c:v>44476</c:v>
                </c:pt>
                <c:pt idx="125">
                  <c:v>44477</c:v>
                </c:pt>
                <c:pt idx="126">
                  <c:v>44478</c:v>
                </c:pt>
                <c:pt idx="127">
                  <c:v>44479</c:v>
                </c:pt>
                <c:pt idx="128">
                  <c:v>44480</c:v>
                </c:pt>
                <c:pt idx="129">
                  <c:v>44481</c:v>
                </c:pt>
                <c:pt idx="130">
                  <c:v>44482</c:v>
                </c:pt>
                <c:pt idx="131">
                  <c:v>44483</c:v>
                </c:pt>
                <c:pt idx="132">
                  <c:v>44484</c:v>
                </c:pt>
                <c:pt idx="133">
                  <c:v>44485</c:v>
                </c:pt>
                <c:pt idx="134">
                  <c:v>44486</c:v>
                </c:pt>
                <c:pt idx="135">
                  <c:v>44487</c:v>
                </c:pt>
                <c:pt idx="136">
                  <c:v>44488</c:v>
                </c:pt>
                <c:pt idx="137">
                  <c:v>44489</c:v>
                </c:pt>
                <c:pt idx="138">
                  <c:v>44490</c:v>
                </c:pt>
                <c:pt idx="139">
                  <c:v>44491</c:v>
                </c:pt>
                <c:pt idx="140">
                  <c:v>44492</c:v>
                </c:pt>
                <c:pt idx="141">
                  <c:v>44493</c:v>
                </c:pt>
                <c:pt idx="142">
                  <c:v>44494</c:v>
                </c:pt>
                <c:pt idx="143">
                  <c:v>44495</c:v>
                </c:pt>
                <c:pt idx="144">
                  <c:v>44496</c:v>
                </c:pt>
                <c:pt idx="145">
                  <c:v>44497</c:v>
                </c:pt>
                <c:pt idx="146">
                  <c:v>44498</c:v>
                </c:pt>
                <c:pt idx="147">
                  <c:v>44499</c:v>
                </c:pt>
                <c:pt idx="148">
                  <c:v>44500</c:v>
                </c:pt>
                <c:pt idx="149">
                  <c:v>44501</c:v>
                </c:pt>
                <c:pt idx="150">
                  <c:v>44502</c:v>
                </c:pt>
                <c:pt idx="151">
                  <c:v>44503</c:v>
                </c:pt>
                <c:pt idx="152">
                  <c:v>44504</c:v>
                </c:pt>
                <c:pt idx="153">
                  <c:v>44505</c:v>
                </c:pt>
                <c:pt idx="154">
                  <c:v>44506</c:v>
                </c:pt>
                <c:pt idx="155">
                  <c:v>44507</c:v>
                </c:pt>
                <c:pt idx="156">
                  <c:v>44508</c:v>
                </c:pt>
                <c:pt idx="157">
                  <c:v>44509</c:v>
                </c:pt>
                <c:pt idx="158">
                  <c:v>44510</c:v>
                </c:pt>
                <c:pt idx="159">
                  <c:v>44511</c:v>
                </c:pt>
                <c:pt idx="160">
                  <c:v>44512</c:v>
                </c:pt>
                <c:pt idx="161">
                  <c:v>44513</c:v>
                </c:pt>
                <c:pt idx="162">
                  <c:v>44514</c:v>
                </c:pt>
                <c:pt idx="163">
                  <c:v>44515</c:v>
                </c:pt>
                <c:pt idx="164">
                  <c:v>44516</c:v>
                </c:pt>
                <c:pt idx="165">
                  <c:v>44517</c:v>
                </c:pt>
                <c:pt idx="166">
                  <c:v>44518</c:v>
                </c:pt>
                <c:pt idx="167">
                  <c:v>44519</c:v>
                </c:pt>
                <c:pt idx="168">
                  <c:v>44520</c:v>
                </c:pt>
                <c:pt idx="169">
                  <c:v>44521</c:v>
                </c:pt>
                <c:pt idx="170">
                  <c:v>44522</c:v>
                </c:pt>
                <c:pt idx="171">
                  <c:v>44523</c:v>
                </c:pt>
                <c:pt idx="172">
                  <c:v>44524</c:v>
                </c:pt>
                <c:pt idx="173">
                  <c:v>44525</c:v>
                </c:pt>
                <c:pt idx="174">
                  <c:v>44526</c:v>
                </c:pt>
                <c:pt idx="175">
                  <c:v>44527</c:v>
                </c:pt>
                <c:pt idx="176">
                  <c:v>44528</c:v>
                </c:pt>
                <c:pt idx="177">
                  <c:v>44529</c:v>
                </c:pt>
                <c:pt idx="178">
                  <c:v>44530</c:v>
                </c:pt>
                <c:pt idx="179">
                  <c:v>44531</c:v>
                </c:pt>
                <c:pt idx="180">
                  <c:v>44532</c:v>
                </c:pt>
                <c:pt idx="181">
                  <c:v>44533</c:v>
                </c:pt>
                <c:pt idx="182">
                  <c:v>44534</c:v>
                </c:pt>
                <c:pt idx="183">
                  <c:v>44535</c:v>
                </c:pt>
                <c:pt idx="184">
                  <c:v>44536</c:v>
                </c:pt>
                <c:pt idx="185">
                  <c:v>44537</c:v>
                </c:pt>
                <c:pt idx="186">
                  <c:v>44538</c:v>
                </c:pt>
                <c:pt idx="187">
                  <c:v>44539</c:v>
                </c:pt>
                <c:pt idx="188">
                  <c:v>44540</c:v>
                </c:pt>
                <c:pt idx="189">
                  <c:v>44541</c:v>
                </c:pt>
                <c:pt idx="190">
                  <c:v>44542</c:v>
                </c:pt>
                <c:pt idx="191">
                  <c:v>44543</c:v>
                </c:pt>
                <c:pt idx="192">
                  <c:v>44544</c:v>
                </c:pt>
                <c:pt idx="193">
                  <c:v>44545</c:v>
                </c:pt>
                <c:pt idx="194">
                  <c:v>44546</c:v>
                </c:pt>
                <c:pt idx="195">
                  <c:v>44547</c:v>
                </c:pt>
                <c:pt idx="196">
                  <c:v>44548</c:v>
                </c:pt>
                <c:pt idx="197">
                  <c:v>44549</c:v>
                </c:pt>
                <c:pt idx="198">
                  <c:v>44550</c:v>
                </c:pt>
                <c:pt idx="199">
                  <c:v>44551</c:v>
                </c:pt>
                <c:pt idx="200">
                  <c:v>44552</c:v>
                </c:pt>
                <c:pt idx="201">
                  <c:v>44553</c:v>
                </c:pt>
                <c:pt idx="202">
                  <c:v>44554</c:v>
                </c:pt>
                <c:pt idx="203">
                  <c:v>44555</c:v>
                </c:pt>
                <c:pt idx="204">
                  <c:v>44556</c:v>
                </c:pt>
                <c:pt idx="205">
                  <c:v>44557</c:v>
                </c:pt>
                <c:pt idx="206">
                  <c:v>44558</c:v>
                </c:pt>
                <c:pt idx="207">
                  <c:v>44559</c:v>
                </c:pt>
                <c:pt idx="208">
                  <c:v>44560</c:v>
                </c:pt>
                <c:pt idx="209">
                  <c:v>44561</c:v>
                </c:pt>
                <c:pt idx="210">
                  <c:v>44562</c:v>
                </c:pt>
                <c:pt idx="211">
                  <c:v>44563</c:v>
                </c:pt>
                <c:pt idx="212">
                  <c:v>44564</c:v>
                </c:pt>
                <c:pt idx="213">
                  <c:v>44565</c:v>
                </c:pt>
                <c:pt idx="214">
                  <c:v>44566</c:v>
                </c:pt>
                <c:pt idx="215">
                  <c:v>44567</c:v>
                </c:pt>
                <c:pt idx="216">
                  <c:v>44568</c:v>
                </c:pt>
                <c:pt idx="217">
                  <c:v>44569</c:v>
                </c:pt>
                <c:pt idx="218">
                  <c:v>44570</c:v>
                </c:pt>
              </c:numCache>
            </c:numRef>
          </c:cat>
          <c:val>
            <c:numRef>
              <c:f>Sheet1!$E$279:$E$497</c:f>
              <c:numCache>
                <c:formatCode>General</c:formatCode>
                <c:ptCount val="219"/>
                <c:pt idx="181">
                  <c:v>1457</c:v>
                </c:pt>
                <c:pt idx="182">
                  <c:v>1435</c:v>
                </c:pt>
                <c:pt idx="183">
                  <c:v>1415</c:v>
                </c:pt>
                <c:pt idx="184">
                  <c:v>1404</c:v>
                </c:pt>
                <c:pt idx="185">
                  <c:v>1395</c:v>
                </c:pt>
                <c:pt idx="186">
                  <c:v>1390</c:v>
                </c:pt>
                <c:pt idx="187">
                  <c:v>1379</c:v>
                </c:pt>
                <c:pt idx="188">
                  <c:v>1363</c:v>
                </c:pt>
                <c:pt idx="189">
                  <c:v>1348</c:v>
                </c:pt>
                <c:pt idx="190">
                  <c:v>1337</c:v>
                </c:pt>
                <c:pt idx="191">
                  <c:v>1328</c:v>
                </c:pt>
                <c:pt idx="192">
                  <c:v>1319</c:v>
                </c:pt>
                <c:pt idx="193">
                  <c:v>1307</c:v>
                </c:pt>
                <c:pt idx="194">
                  <c:v>1295</c:v>
                </c:pt>
                <c:pt idx="195">
                  <c:v>1283</c:v>
                </c:pt>
                <c:pt idx="196">
                  <c:v>1272</c:v>
                </c:pt>
                <c:pt idx="197">
                  <c:v>1262</c:v>
                </c:pt>
                <c:pt idx="198">
                  <c:v>1252</c:v>
                </c:pt>
                <c:pt idx="199">
                  <c:v>1242</c:v>
                </c:pt>
                <c:pt idx="200">
                  <c:v>1230</c:v>
                </c:pt>
                <c:pt idx="201">
                  <c:v>1220</c:v>
                </c:pt>
                <c:pt idx="202">
                  <c:v>1210</c:v>
                </c:pt>
                <c:pt idx="203">
                  <c:v>1200</c:v>
                </c:pt>
                <c:pt idx="204">
                  <c:v>1190</c:v>
                </c:pt>
                <c:pt idx="205">
                  <c:v>1180</c:v>
                </c:pt>
                <c:pt idx="206">
                  <c:v>1170</c:v>
                </c:pt>
                <c:pt idx="207">
                  <c:v>1160</c:v>
                </c:pt>
                <c:pt idx="208">
                  <c:v>1151</c:v>
                </c:pt>
                <c:pt idx="209">
                  <c:v>1141</c:v>
                </c:pt>
                <c:pt idx="210">
                  <c:v>1132</c:v>
                </c:pt>
                <c:pt idx="211">
                  <c:v>1122</c:v>
                </c:pt>
                <c:pt idx="212">
                  <c:v>1113</c:v>
                </c:pt>
                <c:pt idx="213">
                  <c:v>1103</c:v>
                </c:pt>
                <c:pt idx="214">
                  <c:v>1094</c:v>
                </c:pt>
                <c:pt idx="215">
                  <c:v>1085</c:v>
                </c:pt>
                <c:pt idx="216">
                  <c:v>1076</c:v>
                </c:pt>
                <c:pt idx="217">
                  <c:v>1067</c:v>
                </c:pt>
                <c:pt idx="218">
                  <c:v>10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838-4F6A-9204-1B45B90315E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79:$A$497</c:f>
              <c:numCache>
                <c:formatCode>m/d/yyyy</c:formatCode>
                <c:ptCount val="219"/>
                <c:pt idx="0">
                  <c:v>44352</c:v>
                </c:pt>
                <c:pt idx="1">
                  <c:v>44353</c:v>
                </c:pt>
                <c:pt idx="2">
                  <c:v>44354</c:v>
                </c:pt>
                <c:pt idx="3">
                  <c:v>44355</c:v>
                </c:pt>
                <c:pt idx="4">
                  <c:v>44356</c:v>
                </c:pt>
                <c:pt idx="5">
                  <c:v>44357</c:v>
                </c:pt>
                <c:pt idx="6">
                  <c:v>44358</c:v>
                </c:pt>
                <c:pt idx="7">
                  <c:v>44359</c:v>
                </c:pt>
                <c:pt idx="8">
                  <c:v>44360</c:v>
                </c:pt>
                <c:pt idx="9">
                  <c:v>44361</c:v>
                </c:pt>
                <c:pt idx="10">
                  <c:v>44362</c:v>
                </c:pt>
                <c:pt idx="11">
                  <c:v>44363</c:v>
                </c:pt>
                <c:pt idx="12">
                  <c:v>44364</c:v>
                </c:pt>
                <c:pt idx="13">
                  <c:v>44365</c:v>
                </c:pt>
                <c:pt idx="14">
                  <c:v>44366</c:v>
                </c:pt>
                <c:pt idx="15">
                  <c:v>44367</c:v>
                </c:pt>
                <c:pt idx="16">
                  <c:v>44368</c:v>
                </c:pt>
                <c:pt idx="17">
                  <c:v>44369</c:v>
                </c:pt>
                <c:pt idx="18">
                  <c:v>44370</c:v>
                </c:pt>
                <c:pt idx="19">
                  <c:v>44371</c:v>
                </c:pt>
                <c:pt idx="20">
                  <c:v>44372</c:v>
                </c:pt>
                <c:pt idx="21">
                  <c:v>44373</c:v>
                </c:pt>
                <c:pt idx="22">
                  <c:v>44374</c:v>
                </c:pt>
                <c:pt idx="23">
                  <c:v>44375</c:v>
                </c:pt>
                <c:pt idx="24">
                  <c:v>44376</c:v>
                </c:pt>
                <c:pt idx="25">
                  <c:v>44377</c:v>
                </c:pt>
                <c:pt idx="26">
                  <c:v>44378</c:v>
                </c:pt>
                <c:pt idx="27">
                  <c:v>44379</c:v>
                </c:pt>
                <c:pt idx="28">
                  <c:v>44380</c:v>
                </c:pt>
                <c:pt idx="29">
                  <c:v>44381</c:v>
                </c:pt>
                <c:pt idx="30">
                  <c:v>44382</c:v>
                </c:pt>
                <c:pt idx="31">
                  <c:v>44383</c:v>
                </c:pt>
                <c:pt idx="32">
                  <c:v>44384</c:v>
                </c:pt>
                <c:pt idx="33">
                  <c:v>44385</c:v>
                </c:pt>
                <c:pt idx="34">
                  <c:v>44386</c:v>
                </c:pt>
                <c:pt idx="35">
                  <c:v>44387</c:v>
                </c:pt>
                <c:pt idx="36">
                  <c:v>44388</c:v>
                </c:pt>
                <c:pt idx="37">
                  <c:v>44389</c:v>
                </c:pt>
                <c:pt idx="38">
                  <c:v>44390</c:v>
                </c:pt>
                <c:pt idx="39">
                  <c:v>44391</c:v>
                </c:pt>
                <c:pt idx="40">
                  <c:v>44392</c:v>
                </c:pt>
                <c:pt idx="41">
                  <c:v>44393</c:v>
                </c:pt>
                <c:pt idx="42">
                  <c:v>44394</c:v>
                </c:pt>
                <c:pt idx="43">
                  <c:v>44395</c:v>
                </c:pt>
                <c:pt idx="44">
                  <c:v>44396</c:v>
                </c:pt>
                <c:pt idx="45">
                  <c:v>44397</c:v>
                </c:pt>
                <c:pt idx="46">
                  <c:v>44398</c:v>
                </c:pt>
                <c:pt idx="47">
                  <c:v>44399</c:v>
                </c:pt>
                <c:pt idx="48">
                  <c:v>44400</c:v>
                </c:pt>
                <c:pt idx="49">
                  <c:v>44401</c:v>
                </c:pt>
                <c:pt idx="50">
                  <c:v>44402</c:v>
                </c:pt>
                <c:pt idx="51">
                  <c:v>44403</c:v>
                </c:pt>
                <c:pt idx="52">
                  <c:v>44404</c:v>
                </c:pt>
                <c:pt idx="53">
                  <c:v>44405</c:v>
                </c:pt>
                <c:pt idx="54">
                  <c:v>44406</c:v>
                </c:pt>
                <c:pt idx="55">
                  <c:v>44407</c:v>
                </c:pt>
                <c:pt idx="56">
                  <c:v>44408</c:v>
                </c:pt>
                <c:pt idx="57">
                  <c:v>44409</c:v>
                </c:pt>
                <c:pt idx="58">
                  <c:v>44410</c:v>
                </c:pt>
                <c:pt idx="59">
                  <c:v>44411</c:v>
                </c:pt>
                <c:pt idx="60">
                  <c:v>44412</c:v>
                </c:pt>
                <c:pt idx="61">
                  <c:v>44413</c:v>
                </c:pt>
                <c:pt idx="62">
                  <c:v>44414</c:v>
                </c:pt>
                <c:pt idx="63">
                  <c:v>44415</c:v>
                </c:pt>
                <c:pt idx="64">
                  <c:v>44416</c:v>
                </c:pt>
                <c:pt idx="65">
                  <c:v>44417</c:v>
                </c:pt>
                <c:pt idx="66">
                  <c:v>44418</c:v>
                </c:pt>
                <c:pt idx="67">
                  <c:v>44419</c:v>
                </c:pt>
                <c:pt idx="68">
                  <c:v>44420</c:v>
                </c:pt>
                <c:pt idx="69">
                  <c:v>44421</c:v>
                </c:pt>
                <c:pt idx="70">
                  <c:v>44422</c:v>
                </c:pt>
                <c:pt idx="71">
                  <c:v>44423</c:v>
                </c:pt>
                <c:pt idx="72">
                  <c:v>44424</c:v>
                </c:pt>
                <c:pt idx="73">
                  <c:v>44425</c:v>
                </c:pt>
                <c:pt idx="74">
                  <c:v>44426</c:v>
                </c:pt>
                <c:pt idx="75">
                  <c:v>44427</c:v>
                </c:pt>
                <c:pt idx="76">
                  <c:v>44428</c:v>
                </c:pt>
                <c:pt idx="77">
                  <c:v>44429</c:v>
                </c:pt>
                <c:pt idx="78">
                  <c:v>44430</c:v>
                </c:pt>
                <c:pt idx="79">
                  <c:v>44431</c:v>
                </c:pt>
                <c:pt idx="80">
                  <c:v>44432</c:v>
                </c:pt>
                <c:pt idx="81">
                  <c:v>44433</c:v>
                </c:pt>
                <c:pt idx="82">
                  <c:v>44434</c:v>
                </c:pt>
                <c:pt idx="83">
                  <c:v>44435</c:v>
                </c:pt>
                <c:pt idx="84">
                  <c:v>44436</c:v>
                </c:pt>
                <c:pt idx="85">
                  <c:v>44437</c:v>
                </c:pt>
                <c:pt idx="86">
                  <c:v>44438</c:v>
                </c:pt>
                <c:pt idx="87">
                  <c:v>44439</c:v>
                </c:pt>
                <c:pt idx="88">
                  <c:v>44440</c:v>
                </c:pt>
                <c:pt idx="89">
                  <c:v>44441</c:v>
                </c:pt>
                <c:pt idx="90">
                  <c:v>44442</c:v>
                </c:pt>
                <c:pt idx="91">
                  <c:v>44443</c:v>
                </c:pt>
                <c:pt idx="92">
                  <c:v>44444</c:v>
                </c:pt>
                <c:pt idx="93">
                  <c:v>44445</c:v>
                </c:pt>
                <c:pt idx="94">
                  <c:v>44446</c:v>
                </c:pt>
                <c:pt idx="95">
                  <c:v>44447</c:v>
                </c:pt>
                <c:pt idx="96">
                  <c:v>44448</c:v>
                </c:pt>
                <c:pt idx="97">
                  <c:v>44449</c:v>
                </c:pt>
                <c:pt idx="98">
                  <c:v>44450</c:v>
                </c:pt>
                <c:pt idx="99">
                  <c:v>44451</c:v>
                </c:pt>
                <c:pt idx="100">
                  <c:v>44452</c:v>
                </c:pt>
                <c:pt idx="101">
                  <c:v>44453</c:v>
                </c:pt>
                <c:pt idx="102">
                  <c:v>44454</c:v>
                </c:pt>
                <c:pt idx="103">
                  <c:v>44455</c:v>
                </c:pt>
                <c:pt idx="104">
                  <c:v>44456</c:v>
                </c:pt>
                <c:pt idx="105">
                  <c:v>44457</c:v>
                </c:pt>
                <c:pt idx="106">
                  <c:v>44458</c:v>
                </c:pt>
                <c:pt idx="107">
                  <c:v>44459</c:v>
                </c:pt>
                <c:pt idx="108">
                  <c:v>44460</c:v>
                </c:pt>
                <c:pt idx="109">
                  <c:v>44461</c:v>
                </c:pt>
                <c:pt idx="110">
                  <c:v>44462</c:v>
                </c:pt>
                <c:pt idx="111">
                  <c:v>44463</c:v>
                </c:pt>
                <c:pt idx="112">
                  <c:v>44464</c:v>
                </c:pt>
                <c:pt idx="113">
                  <c:v>44465</c:v>
                </c:pt>
                <c:pt idx="114">
                  <c:v>44466</c:v>
                </c:pt>
                <c:pt idx="115">
                  <c:v>44467</c:v>
                </c:pt>
                <c:pt idx="116">
                  <c:v>44468</c:v>
                </c:pt>
                <c:pt idx="117">
                  <c:v>44469</c:v>
                </c:pt>
                <c:pt idx="118">
                  <c:v>44470</c:v>
                </c:pt>
                <c:pt idx="119">
                  <c:v>44471</c:v>
                </c:pt>
                <c:pt idx="120">
                  <c:v>44472</c:v>
                </c:pt>
                <c:pt idx="121">
                  <c:v>44473</c:v>
                </c:pt>
                <c:pt idx="122">
                  <c:v>44474</c:v>
                </c:pt>
                <c:pt idx="123">
                  <c:v>44475</c:v>
                </c:pt>
                <c:pt idx="124">
                  <c:v>44476</c:v>
                </c:pt>
                <c:pt idx="125">
                  <c:v>44477</c:v>
                </c:pt>
                <c:pt idx="126">
                  <c:v>44478</c:v>
                </c:pt>
                <c:pt idx="127">
                  <c:v>44479</c:v>
                </c:pt>
                <c:pt idx="128">
                  <c:v>44480</c:v>
                </c:pt>
                <c:pt idx="129">
                  <c:v>44481</c:v>
                </c:pt>
                <c:pt idx="130">
                  <c:v>44482</c:v>
                </c:pt>
                <c:pt idx="131">
                  <c:v>44483</c:v>
                </c:pt>
                <c:pt idx="132">
                  <c:v>44484</c:v>
                </c:pt>
                <c:pt idx="133">
                  <c:v>44485</c:v>
                </c:pt>
                <c:pt idx="134">
                  <c:v>44486</c:v>
                </c:pt>
                <c:pt idx="135">
                  <c:v>44487</c:v>
                </c:pt>
                <c:pt idx="136">
                  <c:v>44488</c:v>
                </c:pt>
                <c:pt idx="137">
                  <c:v>44489</c:v>
                </c:pt>
                <c:pt idx="138">
                  <c:v>44490</c:v>
                </c:pt>
                <c:pt idx="139">
                  <c:v>44491</c:v>
                </c:pt>
                <c:pt idx="140">
                  <c:v>44492</c:v>
                </c:pt>
                <c:pt idx="141">
                  <c:v>44493</c:v>
                </c:pt>
                <c:pt idx="142">
                  <c:v>44494</c:v>
                </c:pt>
                <c:pt idx="143">
                  <c:v>44495</c:v>
                </c:pt>
                <c:pt idx="144">
                  <c:v>44496</c:v>
                </c:pt>
                <c:pt idx="145">
                  <c:v>44497</c:v>
                </c:pt>
                <c:pt idx="146">
                  <c:v>44498</c:v>
                </c:pt>
                <c:pt idx="147">
                  <c:v>44499</c:v>
                </c:pt>
                <c:pt idx="148">
                  <c:v>44500</c:v>
                </c:pt>
                <c:pt idx="149">
                  <c:v>44501</c:v>
                </c:pt>
                <c:pt idx="150">
                  <c:v>44502</c:v>
                </c:pt>
                <c:pt idx="151">
                  <c:v>44503</c:v>
                </c:pt>
                <c:pt idx="152">
                  <c:v>44504</c:v>
                </c:pt>
                <c:pt idx="153">
                  <c:v>44505</c:v>
                </c:pt>
                <c:pt idx="154">
                  <c:v>44506</c:v>
                </c:pt>
                <c:pt idx="155">
                  <c:v>44507</c:v>
                </c:pt>
                <c:pt idx="156">
                  <c:v>44508</c:v>
                </c:pt>
                <c:pt idx="157">
                  <c:v>44509</c:v>
                </c:pt>
                <c:pt idx="158">
                  <c:v>44510</c:v>
                </c:pt>
                <c:pt idx="159">
                  <c:v>44511</c:v>
                </c:pt>
                <c:pt idx="160">
                  <c:v>44512</c:v>
                </c:pt>
                <c:pt idx="161">
                  <c:v>44513</c:v>
                </c:pt>
                <c:pt idx="162">
                  <c:v>44514</c:v>
                </c:pt>
                <c:pt idx="163">
                  <c:v>44515</c:v>
                </c:pt>
                <c:pt idx="164">
                  <c:v>44516</c:v>
                </c:pt>
                <c:pt idx="165">
                  <c:v>44517</c:v>
                </c:pt>
                <c:pt idx="166">
                  <c:v>44518</c:v>
                </c:pt>
                <c:pt idx="167">
                  <c:v>44519</c:v>
                </c:pt>
                <c:pt idx="168">
                  <c:v>44520</c:v>
                </c:pt>
                <c:pt idx="169">
                  <c:v>44521</c:v>
                </c:pt>
                <c:pt idx="170">
                  <c:v>44522</c:v>
                </c:pt>
                <c:pt idx="171">
                  <c:v>44523</c:v>
                </c:pt>
                <c:pt idx="172">
                  <c:v>44524</c:v>
                </c:pt>
                <c:pt idx="173">
                  <c:v>44525</c:v>
                </c:pt>
                <c:pt idx="174">
                  <c:v>44526</c:v>
                </c:pt>
                <c:pt idx="175">
                  <c:v>44527</c:v>
                </c:pt>
                <c:pt idx="176">
                  <c:v>44528</c:v>
                </c:pt>
                <c:pt idx="177">
                  <c:v>44529</c:v>
                </c:pt>
                <c:pt idx="178">
                  <c:v>44530</c:v>
                </c:pt>
                <c:pt idx="179">
                  <c:v>44531</c:v>
                </c:pt>
                <c:pt idx="180">
                  <c:v>44532</c:v>
                </c:pt>
                <c:pt idx="181">
                  <c:v>44533</c:v>
                </c:pt>
                <c:pt idx="182">
                  <c:v>44534</c:v>
                </c:pt>
                <c:pt idx="183">
                  <c:v>44535</c:v>
                </c:pt>
                <c:pt idx="184">
                  <c:v>44536</c:v>
                </c:pt>
                <c:pt idx="185">
                  <c:v>44537</c:v>
                </c:pt>
                <c:pt idx="186">
                  <c:v>44538</c:v>
                </c:pt>
                <c:pt idx="187">
                  <c:v>44539</c:v>
                </c:pt>
                <c:pt idx="188">
                  <c:v>44540</c:v>
                </c:pt>
                <c:pt idx="189">
                  <c:v>44541</c:v>
                </c:pt>
                <c:pt idx="190">
                  <c:v>44542</c:v>
                </c:pt>
                <c:pt idx="191">
                  <c:v>44543</c:v>
                </c:pt>
                <c:pt idx="192">
                  <c:v>44544</c:v>
                </c:pt>
                <c:pt idx="193">
                  <c:v>44545</c:v>
                </c:pt>
                <c:pt idx="194">
                  <c:v>44546</c:v>
                </c:pt>
                <c:pt idx="195">
                  <c:v>44547</c:v>
                </c:pt>
                <c:pt idx="196">
                  <c:v>44548</c:v>
                </c:pt>
                <c:pt idx="197">
                  <c:v>44549</c:v>
                </c:pt>
                <c:pt idx="198">
                  <c:v>44550</c:v>
                </c:pt>
                <c:pt idx="199">
                  <c:v>44551</c:v>
                </c:pt>
                <c:pt idx="200">
                  <c:v>44552</c:v>
                </c:pt>
                <c:pt idx="201">
                  <c:v>44553</c:v>
                </c:pt>
                <c:pt idx="202">
                  <c:v>44554</c:v>
                </c:pt>
                <c:pt idx="203">
                  <c:v>44555</c:v>
                </c:pt>
                <c:pt idx="204">
                  <c:v>44556</c:v>
                </c:pt>
                <c:pt idx="205">
                  <c:v>44557</c:v>
                </c:pt>
                <c:pt idx="206">
                  <c:v>44558</c:v>
                </c:pt>
                <c:pt idx="207">
                  <c:v>44559</c:v>
                </c:pt>
                <c:pt idx="208">
                  <c:v>44560</c:v>
                </c:pt>
                <c:pt idx="209">
                  <c:v>44561</c:v>
                </c:pt>
                <c:pt idx="210">
                  <c:v>44562</c:v>
                </c:pt>
                <c:pt idx="211">
                  <c:v>44563</c:v>
                </c:pt>
                <c:pt idx="212">
                  <c:v>44564</c:v>
                </c:pt>
                <c:pt idx="213">
                  <c:v>44565</c:v>
                </c:pt>
                <c:pt idx="214">
                  <c:v>44566</c:v>
                </c:pt>
                <c:pt idx="215">
                  <c:v>44567</c:v>
                </c:pt>
                <c:pt idx="216">
                  <c:v>44568</c:v>
                </c:pt>
                <c:pt idx="217">
                  <c:v>44569</c:v>
                </c:pt>
                <c:pt idx="218">
                  <c:v>44570</c:v>
                </c:pt>
              </c:numCache>
            </c:numRef>
          </c:cat>
          <c:val>
            <c:numRef>
              <c:f>Sheet1!$F$279:$F$497</c:f>
              <c:numCache>
                <c:formatCode>General</c:formatCode>
                <c:ptCount val="219"/>
                <c:pt idx="181">
                  <c:v>1521</c:v>
                </c:pt>
                <c:pt idx="182">
                  <c:v>1534</c:v>
                </c:pt>
                <c:pt idx="183">
                  <c:v>1534</c:v>
                </c:pt>
                <c:pt idx="184">
                  <c:v>1533</c:v>
                </c:pt>
                <c:pt idx="185">
                  <c:v>1549</c:v>
                </c:pt>
                <c:pt idx="186">
                  <c:v>1573</c:v>
                </c:pt>
                <c:pt idx="187">
                  <c:v>1594</c:v>
                </c:pt>
                <c:pt idx="188">
                  <c:v>1612</c:v>
                </c:pt>
                <c:pt idx="189">
                  <c:v>1619</c:v>
                </c:pt>
                <c:pt idx="190">
                  <c:v>1630</c:v>
                </c:pt>
                <c:pt idx="191">
                  <c:v>1646</c:v>
                </c:pt>
                <c:pt idx="192">
                  <c:v>1666</c:v>
                </c:pt>
                <c:pt idx="193">
                  <c:v>1685</c:v>
                </c:pt>
                <c:pt idx="194">
                  <c:v>1700</c:v>
                </c:pt>
                <c:pt idx="195">
                  <c:v>1714</c:v>
                </c:pt>
                <c:pt idx="196">
                  <c:v>1728</c:v>
                </c:pt>
                <c:pt idx="197">
                  <c:v>1745</c:v>
                </c:pt>
                <c:pt idx="198">
                  <c:v>1764</c:v>
                </c:pt>
                <c:pt idx="199">
                  <c:v>1782</c:v>
                </c:pt>
                <c:pt idx="200">
                  <c:v>1798</c:v>
                </c:pt>
                <c:pt idx="201">
                  <c:v>1814</c:v>
                </c:pt>
                <c:pt idx="202">
                  <c:v>1831</c:v>
                </c:pt>
                <c:pt idx="203">
                  <c:v>1848</c:v>
                </c:pt>
                <c:pt idx="204">
                  <c:v>1867</c:v>
                </c:pt>
                <c:pt idx="205">
                  <c:v>1885</c:v>
                </c:pt>
                <c:pt idx="206">
                  <c:v>1902</c:v>
                </c:pt>
                <c:pt idx="207">
                  <c:v>1920</c:v>
                </c:pt>
                <c:pt idx="208">
                  <c:v>1938</c:v>
                </c:pt>
                <c:pt idx="209">
                  <c:v>1956</c:v>
                </c:pt>
                <c:pt idx="210">
                  <c:v>1975</c:v>
                </c:pt>
                <c:pt idx="211">
                  <c:v>1994</c:v>
                </c:pt>
                <c:pt idx="212">
                  <c:v>2012</c:v>
                </c:pt>
                <c:pt idx="213">
                  <c:v>2031</c:v>
                </c:pt>
                <c:pt idx="214">
                  <c:v>2050</c:v>
                </c:pt>
                <c:pt idx="215">
                  <c:v>2070</c:v>
                </c:pt>
                <c:pt idx="216">
                  <c:v>2089</c:v>
                </c:pt>
                <c:pt idx="217">
                  <c:v>2109</c:v>
                </c:pt>
                <c:pt idx="218">
                  <c:v>21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838-4F6A-9204-1B45B90315EF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79:$A$497</c:f>
              <c:numCache>
                <c:formatCode>m/d/yyyy</c:formatCode>
                <c:ptCount val="219"/>
                <c:pt idx="0">
                  <c:v>44352</c:v>
                </c:pt>
                <c:pt idx="1">
                  <c:v>44353</c:v>
                </c:pt>
                <c:pt idx="2">
                  <c:v>44354</c:v>
                </c:pt>
                <c:pt idx="3">
                  <c:v>44355</c:v>
                </c:pt>
                <c:pt idx="4">
                  <c:v>44356</c:v>
                </c:pt>
                <c:pt idx="5">
                  <c:v>44357</c:v>
                </c:pt>
                <c:pt idx="6">
                  <c:v>44358</c:v>
                </c:pt>
                <c:pt idx="7">
                  <c:v>44359</c:v>
                </c:pt>
                <c:pt idx="8">
                  <c:v>44360</c:v>
                </c:pt>
                <c:pt idx="9">
                  <c:v>44361</c:v>
                </c:pt>
                <c:pt idx="10">
                  <c:v>44362</c:v>
                </c:pt>
                <c:pt idx="11">
                  <c:v>44363</c:v>
                </c:pt>
                <c:pt idx="12">
                  <c:v>44364</c:v>
                </c:pt>
                <c:pt idx="13">
                  <c:v>44365</c:v>
                </c:pt>
                <c:pt idx="14">
                  <c:v>44366</c:v>
                </c:pt>
                <c:pt idx="15">
                  <c:v>44367</c:v>
                </c:pt>
                <c:pt idx="16">
                  <c:v>44368</c:v>
                </c:pt>
                <c:pt idx="17">
                  <c:v>44369</c:v>
                </c:pt>
                <c:pt idx="18">
                  <c:v>44370</c:v>
                </c:pt>
                <c:pt idx="19">
                  <c:v>44371</c:v>
                </c:pt>
                <c:pt idx="20">
                  <c:v>44372</c:v>
                </c:pt>
                <c:pt idx="21">
                  <c:v>44373</c:v>
                </c:pt>
                <c:pt idx="22">
                  <c:v>44374</c:v>
                </c:pt>
                <c:pt idx="23">
                  <c:v>44375</c:v>
                </c:pt>
                <c:pt idx="24">
                  <c:v>44376</c:v>
                </c:pt>
                <c:pt idx="25">
                  <c:v>44377</c:v>
                </c:pt>
                <c:pt idx="26">
                  <c:v>44378</c:v>
                </c:pt>
                <c:pt idx="27">
                  <c:v>44379</c:v>
                </c:pt>
                <c:pt idx="28">
                  <c:v>44380</c:v>
                </c:pt>
                <c:pt idx="29">
                  <c:v>44381</c:v>
                </c:pt>
                <c:pt idx="30">
                  <c:v>44382</c:v>
                </c:pt>
                <c:pt idx="31">
                  <c:v>44383</c:v>
                </c:pt>
                <c:pt idx="32">
                  <c:v>44384</c:v>
                </c:pt>
                <c:pt idx="33">
                  <c:v>44385</c:v>
                </c:pt>
                <c:pt idx="34">
                  <c:v>44386</c:v>
                </c:pt>
                <c:pt idx="35">
                  <c:v>44387</c:v>
                </c:pt>
                <c:pt idx="36">
                  <c:v>44388</c:v>
                </c:pt>
                <c:pt idx="37">
                  <c:v>44389</c:v>
                </c:pt>
                <c:pt idx="38">
                  <c:v>44390</c:v>
                </c:pt>
                <c:pt idx="39">
                  <c:v>44391</c:v>
                </c:pt>
                <c:pt idx="40">
                  <c:v>44392</c:v>
                </c:pt>
                <c:pt idx="41">
                  <c:v>44393</c:v>
                </c:pt>
                <c:pt idx="42">
                  <c:v>44394</c:v>
                </c:pt>
                <c:pt idx="43">
                  <c:v>44395</c:v>
                </c:pt>
                <c:pt idx="44">
                  <c:v>44396</c:v>
                </c:pt>
                <c:pt idx="45">
                  <c:v>44397</c:v>
                </c:pt>
                <c:pt idx="46">
                  <c:v>44398</c:v>
                </c:pt>
                <c:pt idx="47">
                  <c:v>44399</c:v>
                </c:pt>
                <c:pt idx="48">
                  <c:v>44400</c:v>
                </c:pt>
                <c:pt idx="49">
                  <c:v>44401</c:v>
                </c:pt>
                <c:pt idx="50">
                  <c:v>44402</c:v>
                </c:pt>
                <c:pt idx="51">
                  <c:v>44403</c:v>
                </c:pt>
                <c:pt idx="52">
                  <c:v>44404</c:v>
                </c:pt>
                <c:pt idx="53">
                  <c:v>44405</c:v>
                </c:pt>
                <c:pt idx="54">
                  <c:v>44406</c:v>
                </c:pt>
                <c:pt idx="55">
                  <c:v>44407</c:v>
                </c:pt>
                <c:pt idx="56">
                  <c:v>44408</c:v>
                </c:pt>
                <c:pt idx="57">
                  <c:v>44409</c:v>
                </c:pt>
                <c:pt idx="58">
                  <c:v>44410</c:v>
                </c:pt>
                <c:pt idx="59">
                  <c:v>44411</c:v>
                </c:pt>
                <c:pt idx="60">
                  <c:v>44412</c:v>
                </c:pt>
                <c:pt idx="61">
                  <c:v>44413</c:v>
                </c:pt>
                <c:pt idx="62">
                  <c:v>44414</c:v>
                </c:pt>
                <c:pt idx="63">
                  <c:v>44415</c:v>
                </c:pt>
                <c:pt idx="64">
                  <c:v>44416</c:v>
                </c:pt>
                <c:pt idx="65">
                  <c:v>44417</c:v>
                </c:pt>
                <c:pt idx="66">
                  <c:v>44418</c:v>
                </c:pt>
                <c:pt idx="67">
                  <c:v>44419</c:v>
                </c:pt>
                <c:pt idx="68">
                  <c:v>44420</c:v>
                </c:pt>
                <c:pt idx="69">
                  <c:v>44421</c:v>
                </c:pt>
                <c:pt idx="70">
                  <c:v>44422</c:v>
                </c:pt>
                <c:pt idx="71">
                  <c:v>44423</c:v>
                </c:pt>
                <c:pt idx="72">
                  <c:v>44424</c:v>
                </c:pt>
                <c:pt idx="73">
                  <c:v>44425</c:v>
                </c:pt>
                <c:pt idx="74">
                  <c:v>44426</c:v>
                </c:pt>
                <c:pt idx="75">
                  <c:v>44427</c:v>
                </c:pt>
                <c:pt idx="76">
                  <c:v>44428</c:v>
                </c:pt>
                <c:pt idx="77">
                  <c:v>44429</c:v>
                </c:pt>
                <c:pt idx="78">
                  <c:v>44430</c:v>
                </c:pt>
                <c:pt idx="79">
                  <c:v>44431</c:v>
                </c:pt>
                <c:pt idx="80">
                  <c:v>44432</c:v>
                </c:pt>
                <c:pt idx="81">
                  <c:v>44433</c:v>
                </c:pt>
                <c:pt idx="82">
                  <c:v>44434</c:v>
                </c:pt>
                <c:pt idx="83">
                  <c:v>44435</c:v>
                </c:pt>
                <c:pt idx="84">
                  <c:v>44436</c:v>
                </c:pt>
                <c:pt idx="85">
                  <c:v>44437</c:v>
                </c:pt>
                <c:pt idx="86">
                  <c:v>44438</c:v>
                </c:pt>
                <c:pt idx="87">
                  <c:v>44439</c:v>
                </c:pt>
                <c:pt idx="88">
                  <c:v>44440</c:v>
                </c:pt>
                <c:pt idx="89">
                  <c:v>44441</c:v>
                </c:pt>
                <c:pt idx="90">
                  <c:v>44442</c:v>
                </c:pt>
                <c:pt idx="91">
                  <c:v>44443</c:v>
                </c:pt>
                <c:pt idx="92">
                  <c:v>44444</c:v>
                </c:pt>
                <c:pt idx="93">
                  <c:v>44445</c:v>
                </c:pt>
                <c:pt idx="94">
                  <c:v>44446</c:v>
                </c:pt>
                <c:pt idx="95">
                  <c:v>44447</c:v>
                </c:pt>
                <c:pt idx="96">
                  <c:v>44448</c:v>
                </c:pt>
                <c:pt idx="97">
                  <c:v>44449</c:v>
                </c:pt>
                <c:pt idx="98">
                  <c:v>44450</c:v>
                </c:pt>
                <c:pt idx="99">
                  <c:v>44451</c:v>
                </c:pt>
                <c:pt idx="100">
                  <c:v>44452</c:v>
                </c:pt>
                <c:pt idx="101">
                  <c:v>44453</c:v>
                </c:pt>
                <c:pt idx="102">
                  <c:v>44454</c:v>
                </c:pt>
                <c:pt idx="103">
                  <c:v>44455</c:v>
                </c:pt>
                <c:pt idx="104">
                  <c:v>44456</c:v>
                </c:pt>
                <c:pt idx="105">
                  <c:v>44457</c:v>
                </c:pt>
                <c:pt idx="106">
                  <c:v>44458</c:v>
                </c:pt>
                <c:pt idx="107">
                  <c:v>44459</c:v>
                </c:pt>
                <c:pt idx="108">
                  <c:v>44460</c:v>
                </c:pt>
                <c:pt idx="109">
                  <c:v>44461</c:v>
                </c:pt>
                <c:pt idx="110">
                  <c:v>44462</c:v>
                </c:pt>
                <c:pt idx="111">
                  <c:v>44463</c:v>
                </c:pt>
                <c:pt idx="112">
                  <c:v>44464</c:v>
                </c:pt>
                <c:pt idx="113">
                  <c:v>44465</c:v>
                </c:pt>
                <c:pt idx="114">
                  <c:v>44466</c:v>
                </c:pt>
                <c:pt idx="115">
                  <c:v>44467</c:v>
                </c:pt>
                <c:pt idx="116">
                  <c:v>44468</c:v>
                </c:pt>
                <c:pt idx="117">
                  <c:v>44469</c:v>
                </c:pt>
                <c:pt idx="118">
                  <c:v>44470</c:v>
                </c:pt>
                <c:pt idx="119">
                  <c:v>44471</c:v>
                </c:pt>
                <c:pt idx="120">
                  <c:v>44472</c:v>
                </c:pt>
                <c:pt idx="121">
                  <c:v>44473</c:v>
                </c:pt>
                <c:pt idx="122">
                  <c:v>44474</c:v>
                </c:pt>
                <c:pt idx="123">
                  <c:v>44475</c:v>
                </c:pt>
                <c:pt idx="124">
                  <c:v>44476</c:v>
                </c:pt>
                <c:pt idx="125">
                  <c:v>44477</c:v>
                </c:pt>
                <c:pt idx="126">
                  <c:v>44478</c:v>
                </c:pt>
                <c:pt idx="127">
                  <c:v>44479</c:v>
                </c:pt>
                <c:pt idx="128">
                  <c:v>44480</c:v>
                </c:pt>
                <c:pt idx="129">
                  <c:v>44481</c:v>
                </c:pt>
                <c:pt idx="130">
                  <c:v>44482</c:v>
                </c:pt>
                <c:pt idx="131">
                  <c:v>44483</c:v>
                </c:pt>
                <c:pt idx="132">
                  <c:v>44484</c:v>
                </c:pt>
                <c:pt idx="133">
                  <c:v>44485</c:v>
                </c:pt>
                <c:pt idx="134">
                  <c:v>44486</c:v>
                </c:pt>
                <c:pt idx="135">
                  <c:v>44487</c:v>
                </c:pt>
                <c:pt idx="136">
                  <c:v>44488</c:v>
                </c:pt>
                <c:pt idx="137">
                  <c:v>44489</c:v>
                </c:pt>
                <c:pt idx="138">
                  <c:v>44490</c:v>
                </c:pt>
                <c:pt idx="139">
                  <c:v>44491</c:v>
                </c:pt>
                <c:pt idx="140">
                  <c:v>44492</c:v>
                </c:pt>
                <c:pt idx="141">
                  <c:v>44493</c:v>
                </c:pt>
                <c:pt idx="142">
                  <c:v>44494</c:v>
                </c:pt>
                <c:pt idx="143">
                  <c:v>44495</c:v>
                </c:pt>
                <c:pt idx="144">
                  <c:v>44496</c:v>
                </c:pt>
                <c:pt idx="145">
                  <c:v>44497</c:v>
                </c:pt>
                <c:pt idx="146">
                  <c:v>44498</c:v>
                </c:pt>
                <c:pt idx="147">
                  <c:v>44499</c:v>
                </c:pt>
                <c:pt idx="148">
                  <c:v>44500</c:v>
                </c:pt>
                <c:pt idx="149">
                  <c:v>44501</c:v>
                </c:pt>
                <c:pt idx="150">
                  <c:v>44502</c:v>
                </c:pt>
                <c:pt idx="151">
                  <c:v>44503</c:v>
                </c:pt>
                <c:pt idx="152">
                  <c:v>44504</c:v>
                </c:pt>
                <c:pt idx="153">
                  <c:v>44505</c:v>
                </c:pt>
                <c:pt idx="154">
                  <c:v>44506</c:v>
                </c:pt>
                <c:pt idx="155">
                  <c:v>44507</c:v>
                </c:pt>
                <c:pt idx="156">
                  <c:v>44508</c:v>
                </c:pt>
                <c:pt idx="157">
                  <c:v>44509</c:v>
                </c:pt>
                <c:pt idx="158">
                  <c:v>44510</c:v>
                </c:pt>
                <c:pt idx="159">
                  <c:v>44511</c:v>
                </c:pt>
                <c:pt idx="160">
                  <c:v>44512</c:v>
                </c:pt>
                <c:pt idx="161">
                  <c:v>44513</c:v>
                </c:pt>
                <c:pt idx="162">
                  <c:v>44514</c:v>
                </c:pt>
                <c:pt idx="163">
                  <c:v>44515</c:v>
                </c:pt>
                <c:pt idx="164">
                  <c:v>44516</c:v>
                </c:pt>
                <c:pt idx="165">
                  <c:v>44517</c:v>
                </c:pt>
                <c:pt idx="166">
                  <c:v>44518</c:v>
                </c:pt>
                <c:pt idx="167">
                  <c:v>44519</c:v>
                </c:pt>
                <c:pt idx="168">
                  <c:v>44520</c:v>
                </c:pt>
                <c:pt idx="169">
                  <c:v>44521</c:v>
                </c:pt>
                <c:pt idx="170">
                  <c:v>44522</c:v>
                </c:pt>
                <c:pt idx="171">
                  <c:v>44523</c:v>
                </c:pt>
                <c:pt idx="172">
                  <c:v>44524</c:v>
                </c:pt>
                <c:pt idx="173">
                  <c:v>44525</c:v>
                </c:pt>
                <c:pt idx="174">
                  <c:v>44526</c:v>
                </c:pt>
                <c:pt idx="175">
                  <c:v>44527</c:v>
                </c:pt>
                <c:pt idx="176">
                  <c:v>44528</c:v>
                </c:pt>
                <c:pt idx="177">
                  <c:v>44529</c:v>
                </c:pt>
                <c:pt idx="178">
                  <c:v>44530</c:v>
                </c:pt>
                <c:pt idx="179">
                  <c:v>44531</c:v>
                </c:pt>
                <c:pt idx="180">
                  <c:v>44532</c:v>
                </c:pt>
                <c:pt idx="181">
                  <c:v>44533</c:v>
                </c:pt>
                <c:pt idx="182">
                  <c:v>44534</c:v>
                </c:pt>
                <c:pt idx="183">
                  <c:v>44535</c:v>
                </c:pt>
                <c:pt idx="184">
                  <c:v>44536</c:v>
                </c:pt>
                <c:pt idx="185">
                  <c:v>44537</c:v>
                </c:pt>
                <c:pt idx="186">
                  <c:v>44538</c:v>
                </c:pt>
                <c:pt idx="187">
                  <c:v>44539</c:v>
                </c:pt>
                <c:pt idx="188">
                  <c:v>44540</c:v>
                </c:pt>
                <c:pt idx="189">
                  <c:v>44541</c:v>
                </c:pt>
                <c:pt idx="190">
                  <c:v>44542</c:v>
                </c:pt>
                <c:pt idx="191">
                  <c:v>44543</c:v>
                </c:pt>
                <c:pt idx="192">
                  <c:v>44544</c:v>
                </c:pt>
                <c:pt idx="193">
                  <c:v>44545</c:v>
                </c:pt>
                <c:pt idx="194">
                  <c:v>44546</c:v>
                </c:pt>
                <c:pt idx="195">
                  <c:v>44547</c:v>
                </c:pt>
                <c:pt idx="196">
                  <c:v>44548</c:v>
                </c:pt>
                <c:pt idx="197">
                  <c:v>44549</c:v>
                </c:pt>
                <c:pt idx="198">
                  <c:v>44550</c:v>
                </c:pt>
                <c:pt idx="199">
                  <c:v>44551</c:v>
                </c:pt>
                <c:pt idx="200">
                  <c:v>44552</c:v>
                </c:pt>
                <c:pt idx="201">
                  <c:v>44553</c:v>
                </c:pt>
                <c:pt idx="202">
                  <c:v>44554</c:v>
                </c:pt>
                <c:pt idx="203">
                  <c:v>44555</c:v>
                </c:pt>
                <c:pt idx="204">
                  <c:v>44556</c:v>
                </c:pt>
                <c:pt idx="205">
                  <c:v>44557</c:v>
                </c:pt>
                <c:pt idx="206">
                  <c:v>44558</c:v>
                </c:pt>
                <c:pt idx="207">
                  <c:v>44559</c:v>
                </c:pt>
                <c:pt idx="208">
                  <c:v>44560</c:v>
                </c:pt>
                <c:pt idx="209">
                  <c:v>44561</c:v>
                </c:pt>
                <c:pt idx="210">
                  <c:v>44562</c:v>
                </c:pt>
                <c:pt idx="211">
                  <c:v>44563</c:v>
                </c:pt>
                <c:pt idx="212">
                  <c:v>44564</c:v>
                </c:pt>
                <c:pt idx="213">
                  <c:v>44565</c:v>
                </c:pt>
                <c:pt idx="214">
                  <c:v>44566</c:v>
                </c:pt>
                <c:pt idx="215">
                  <c:v>44567</c:v>
                </c:pt>
                <c:pt idx="216">
                  <c:v>44568</c:v>
                </c:pt>
                <c:pt idx="217">
                  <c:v>44569</c:v>
                </c:pt>
                <c:pt idx="218">
                  <c:v>44570</c:v>
                </c:pt>
              </c:numCache>
            </c:numRef>
          </c:cat>
          <c:val>
            <c:numRef>
              <c:f>Sheet1!$G$279:$G$497</c:f>
              <c:numCache>
                <c:formatCode>General</c:formatCode>
                <c:ptCount val="219"/>
                <c:pt idx="181">
                  <c:v>1553</c:v>
                </c:pt>
                <c:pt idx="182">
                  <c:v>1583</c:v>
                </c:pt>
                <c:pt idx="183">
                  <c:v>1593</c:v>
                </c:pt>
                <c:pt idx="184">
                  <c:v>1598</c:v>
                </c:pt>
                <c:pt idx="185">
                  <c:v>1626</c:v>
                </c:pt>
                <c:pt idx="186">
                  <c:v>1667</c:v>
                </c:pt>
                <c:pt idx="187">
                  <c:v>1707</c:v>
                </c:pt>
                <c:pt idx="188">
                  <c:v>1744</c:v>
                </c:pt>
                <c:pt idx="189">
                  <c:v>1765</c:v>
                </c:pt>
                <c:pt idx="190">
                  <c:v>1788</c:v>
                </c:pt>
                <c:pt idx="191">
                  <c:v>1820</c:v>
                </c:pt>
                <c:pt idx="192">
                  <c:v>1860</c:v>
                </c:pt>
                <c:pt idx="193">
                  <c:v>1898</c:v>
                </c:pt>
                <c:pt idx="194">
                  <c:v>1932</c:v>
                </c:pt>
                <c:pt idx="195">
                  <c:v>1963</c:v>
                </c:pt>
                <c:pt idx="196">
                  <c:v>1995</c:v>
                </c:pt>
                <c:pt idx="197">
                  <c:v>2032</c:v>
                </c:pt>
                <c:pt idx="198">
                  <c:v>2071</c:v>
                </c:pt>
                <c:pt idx="199">
                  <c:v>2110</c:v>
                </c:pt>
                <c:pt idx="200">
                  <c:v>2148</c:v>
                </c:pt>
                <c:pt idx="201">
                  <c:v>2184</c:v>
                </c:pt>
                <c:pt idx="202">
                  <c:v>2223</c:v>
                </c:pt>
                <c:pt idx="203">
                  <c:v>2263</c:v>
                </c:pt>
                <c:pt idx="204">
                  <c:v>2305</c:v>
                </c:pt>
                <c:pt idx="205">
                  <c:v>2347</c:v>
                </c:pt>
                <c:pt idx="206">
                  <c:v>2389</c:v>
                </c:pt>
                <c:pt idx="207">
                  <c:v>2431</c:v>
                </c:pt>
                <c:pt idx="208">
                  <c:v>2474</c:v>
                </c:pt>
                <c:pt idx="209">
                  <c:v>2519</c:v>
                </c:pt>
                <c:pt idx="210">
                  <c:v>2564</c:v>
                </c:pt>
                <c:pt idx="211">
                  <c:v>2610</c:v>
                </c:pt>
                <c:pt idx="212">
                  <c:v>2657</c:v>
                </c:pt>
                <c:pt idx="213">
                  <c:v>2704</c:v>
                </c:pt>
                <c:pt idx="214">
                  <c:v>2752</c:v>
                </c:pt>
                <c:pt idx="215">
                  <c:v>2802</c:v>
                </c:pt>
                <c:pt idx="216">
                  <c:v>2852</c:v>
                </c:pt>
                <c:pt idx="217">
                  <c:v>2903</c:v>
                </c:pt>
                <c:pt idx="218">
                  <c:v>29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838-4F6A-9204-1B45B90315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400"/>
        <c:min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H$122:$H$344</c:f>
              <c:numCache>
                <c:formatCode>0</c:formatCode>
                <c:ptCount val="22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  <c:pt idx="188" formatCode="General">
                  <c:v>100</c:v>
                </c:pt>
                <c:pt idx="189" formatCode="General">
                  <c:v>100</c:v>
                </c:pt>
                <c:pt idx="190" formatCode="General">
                  <c:v>100</c:v>
                </c:pt>
                <c:pt idx="191" formatCode="General">
                  <c:v>100</c:v>
                </c:pt>
                <c:pt idx="192" formatCode="General">
                  <c:v>100</c:v>
                </c:pt>
                <c:pt idx="193" formatCode="General">
                  <c:v>100</c:v>
                </c:pt>
                <c:pt idx="194" formatCode="General">
                  <c:v>100</c:v>
                </c:pt>
                <c:pt idx="195" formatCode="General">
                  <c:v>100</c:v>
                </c:pt>
                <c:pt idx="196" formatCode="General">
                  <c:v>100</c:v>
                </c:pt>
                <c:pt idx="197" formatCode="General">
                  <c:v>100</c:v>
                </c:pt>
                <c:pt idx="198" formatCode="General">
                  <c:v>100</c:v>
                </c:pt>
                <c:pt idx="199" formatCode="General">
                  <c:v>100</c:v>
                </c:pt>
                <c:pt idx="200" formatCode="General">
                  <c:v>100</c:v>
                </c:pt>
                <c:pt idx="201" formatCode="General">
                  <c:v>100</c:v>
                </c:pt>
                <c:pt idx="202" formatCode="General">
                  <c:v>100</c:v>
                </c:pt>
                <c:pt idx="203" formatCode="General">
                  <c:v>100</c:v>
                </c:pt>
                <c:pt idx="204" formatCode="General">
                  <c:v>100</c:v>
                </c:pt>
                <c:pt idx="205" formatCode="General">
                  <c:v>100</c:v>
                </c:pt>
                <c:pt idx="206" formatCode="General">
                  <c:v>100</c:v>
                </c:pt>
                <c:pt idx="207" formatCode="General">
                  <c:v>100</c:v>
                </c:pt>
                <c:pt idx="208" formatCode="General">
                  <c:v>100</c:v>
                </c:pt>
                <c:pt idx="209" formatCode="General">
                  <c:v>100</c:v>
                </c:pt>
                <c:pt idx="210" formatCode="General">
                  <c:v>100</c:v>
                </c:pt>
                <c:pt idx="211" formatCode="General">
                  <c:v>100</c:v>
                </c:pt>
                <c:pt idx="212" formatCode="General">
                  <c:v>100</c:v>
                </c:pt>
                <c:pt idx="213" formatCode="General">
                  <c:v>100</c:v>
                </c:pt>
                <c:pt idx="214" formatCode="General">
                  <c:v>100</c:v>
                </c:pt>
                <c:pt idx="215" formatCode="General">
                  <c:v>100</c:v>
                </c:pt>
                <c:pt idx="216" formatCode="General">
                  <c:v>100</c:v>
                </c:pt>
                <c:pt idx="217" formatCode="General">
                  <c:v>100</c:v>
                </c:pt>
                <c:pt idx="218" formatCode="General">
                  <c:v>100</c:v>
                </c:pt>
                <c:pt idx="219" formatCode="General">
                  <c:v>100</c:v>
                </c:pt>
                <c:pt idx="220" formatCode="General">
                  <c:v>100</c:v>
                </c:pt>
                <c:pt idx="221" formatCode="General">
                  <c:v>100</c:v>
                </c:pt>
                <c:pt idx="222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15-44FD-973A-F27A14EC0B1E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I$122:$I$344</c:f>
              <c:numCache>
                <c:formatCode>0</c:formatCode>
                <c:ptCount val="22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  <c:pt idx="188" formatCode="General">
                  <c:v>50</c:v>
                </c:pt>
                <c:pt idx="189" formatCode="General">
                  <c:v>50</c:v>
                </c:pt>
                <c:pt idx="190" formatCode="General">
                  <c:v>50</c:v>
                </c:pt>
                <c:pt idx="191" formatCode="General">
                  <c:v>50</c:v>
                </c:pt>
                <c:pt idx="192" formatCode="General">
                  <c:v>50</c:v>
                </c:pt>
                <c:pt idx="193" formatCode="General">
                  <c:v>50</c:v>
                </c:pt>
                <c:pt idx="194" formatCode="General">
                  <c:v>50</c:v>
                </c:pt>
                <c:pt idx="195" formatCode="General">
                  <c:v>50</c:v>
                </c:pt>
                <c:pt idx="196" formatCode="General">
                  <c:v>50</c:v>
                </c:pt>
                <c:pt idx="197" formatCode="General">
                  <c:v>50</c:v>
                </c:pt>
                <c:pt idx="198" formatCode="General">
                  <c:v>50</c:v>
                </c:pt>
                <c:pt idx="199" formatCode="General">
                  <c:v>50</c:v>
                </c:pt>
                <c:pt idx="200" formatCode="General">
                  <c:v>50</c:v>
                </c:pt>
                <c:pt idx="201" formatCode="General">
                  <c:v>50</c:v>
                </c:pt>
                <c:pt idx="202" formatCode="General">
                  <c:v>50</c:v>
                </c:pt>
                <c:pt idx="203" formatCode="General">
                  <c:v>50</c:v>
                </c:pt>
                <c:pt idx="204" formatCode="General">
                  <c:v>50</c:v>
                </c:pt>
                <c:pt idx="205" formatCode="General">
                  <c:v>50</c:v>
                </c:pt>
                <c:pt idx="206" formatCode="General">
                  <c:v>50</c:v>
                </c:pt>
                <c:pt idx="207" formatCode="General">
                  <c:v>50</c:v>
                </c:pt>
                <c:pt idx="208" formatCode="General">
                  <c:v>50</c:v>
                </c:pt>
                <c:pt idx="209" formatCode="General">
                  <c:v>50</c:v>
                </c:pt>
                <c:pt idx="210" formatCode="General">
                  <c:v>50</c:v>
                </c:pt>
                <c:pt idx="211" formatCode="General">
                  <c:v>50</c:v>
                </c:pt>
                <c:pt idx="212" formatCode="General">
                  <c:v>50</c:v>
                </c:pt>
                <c:pt idx="213" formatCode="General">
                  <c:v>50</c:v>
                </c:pt>
                <c:pt idx="214" formatCode="General">
                  <c:v>50</c:v>
                </c:pt>
                <c:pt idx="215" formatCode="General">
                  <c:v>50</c:v>
                </c:pt>
                <c:pt idx="216" formatCode="General">
                  <c:v>50</c:v>
                </c:pt>
                <c:pt idx="217" formatCode="General">
                  <c:v>50</c:v>
                </c:pt>
                <c:pt idx="218" formatCode="General">
                  <c:v>50</c:v>
                </c:pt>
                <c:pt idx="219" formatCode="General">
                  <c:v>50</c:v>
                </c:pt>
                <c:pt idx="220" formatCode="General">
                  <c:v>50</c:v>
                </c:pt>
                <c:pt idx="221" formatCode="General">
                  <c:v>50</c:v>
                </c:pt>
                <c:pt idx="222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15-44FD-973A-F27A14EC0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B$122:$B$344</c:f>
              <c:numCache>
                <c:formatCode>0</c:formatCode>
                <c:ptCount val="223"/>
                <c:pt idx="0">
                  <c:v>41.887957470794781</c:v>
                </c:pt>
                <c:pt idx="1">
                  <c:v>43.266984877240702</c:v>
                </c:pt>
                <c:pt idx="2">
                  <c:v>39.81941636112591</c:v>
                </c:pt>
                <c:pt idx="3">
                  <c:v>36.027090993399632</c:v>
                </c:pt>
                <c:pt idx="4">
                  <c:v>32.579522477284833</c:v>
                </c:pt>
                <c:pt idx="5">
                  <c:v>31.54525192245039</c:v>
                </c:pt>
                <c:pt idx="6">
                  <c:v>29.131953961170037</c:v>
                </c:pt>
                <c:pt idx="7">
                  <c:v>23.615844335386363</c:v>
                </c:pt>
                <c:pt idx="8">
                  <c:v>20.685411096688782</c:v>
                </c:pt>
                <c:pt idx="9">
                  <c:v>18.789248412825643</c:v>
                </c:pt>
                <c:pt idx="10">
                  <c:v>15.686436748322325</c:v>
                </c:pt>
                <c:pt idx="11">
                  <c:v>15.169301470905106</c:v>
                </c:pt>
                <c:pt idx="12">
                  <c:v>15.169301470905106</c:v>
                </c:pt>
                <c:pt idx="13">
                  <c:v>13.617895638653449</c:v>
                </c:pt>
                <c:pt idx="14">
                  <c:v>11.37697610317883</c:v>
                </c:pt>
                <c:pt idx="15">
                  <c:v>8.9636781418984732</c:v>
                </c:pt>
                <c:pt idx="16">
                  <c:v>8.1017860128697734</c:v>
                </c:pt>
                <c:pt idx="17">
                  <c:v>8.4465428644812519</c:v>
                </c:pt>
                <c:pt idx="18">
                  <c:v>8.7912997160927322</c:v>
                </c:pt>
                <c:pt idx="19">
                  <c:v>8.9636781418984732</c:v>
                </c:pt>
                <c:pt idx="20">
                  <c:v>8.2741644386755144</c:v>
                </c:pt>
                <c:pt idx="21">
                  <c:v>8.1017860128697734</c:v>
                </c:pt>
                <c:pt idx="22">
                  <c:v>9.3084349935099517</c:v>
                </c:pt>
                <c:pt idx="23">
                  <c:v>8.7912997160927322</c:v>
                </c:pt>
                <c:pt idx="24">
                  <c:v>7.7570291612582931</c:v>
                </c:pt>
                <c:pt idx="25">
                  <c:v>6.8951370322295942</c:v>
                </c:pt>
                <c:pt idx="26">
                  <c:v>7.4122723096468137</c:v>
                </c:pt>
                <c:pt idx="27">
                  <c:v>6.8951370322295942</c:v>
                </c:pt>
                <c:pt idx="28">
                  <c:v>7.0675154580353343</c:v>
                </c:pt>
                <c:pt idx="29">
                  <c:v>5.3437311999779356</c:v>
                </c:pt>
                <c:pt idx="30">
                  <c:v>4.9989743483664562</c:v>
                </c:pt>
                <c:pt idx="31">
                  <c:v>6.0332449032008943</c:v>
                </c:pt>
                <c:pt idx="32">
                  <c:v>5.5161096257836757</c:v>
                </c:pt>
                <c:pt idx="33">
                  <c:v>4.826595922560716</c:v>
                </c:pt>
                <c:pt idx="34">
                  <c:v>3.9647037935320171</c:v>
                </c:pt>
                <c:pt idx="35">
                  <c:v>2.0685411096688786</c:v>
                </c:pt>
                <c:pt idx="36">
                  <c:v>3.6199469419205368</c:v>
                </c:pt>
                <c:pt idx="37">
                  <c:v>3.9647037935320171</c:v>
                </c:pt>
                <c:pt idx="38">
                  <c:v>4.1370822193377572</c:v>
                </c:pt>
                <c:pt idx="39">
                  <c:v>4.6542174967549759</c:v>
                </c:pt>
                <c:pt idx="40">
                  <c:v>4.826595922560716</c:v>
                </c:pt>
                <c:pt idx="41">
                  <c:v>5.3437311999779356</c:v>
                </c:pt>
                <c:pt idx="42">
                  <c:v>6.0332449032008943</c:v>
                </c:pt>
                <c:pt idx="43">
                  <c:v>5.688488051589415</c:v>
                </c:pt>
                <c:pt idx="44">
                  <c:v>6.0332449032008943</c:v>
                </c:pt>
                <c:pt idx="45">
                  <c:v>5.1713527741721954</c:v>
                </c:pt>
                <c:pt idx="46">
                  <c:v>5.3437311999779356</c:v>
                </c:pt>
                <c:pt idx="47">
                  <c:v>5.5161096257836757</c:v>
                </c:pt>
                <c:pt idx="48">
                  <c:v>5.688488051589415</c:v>
                </c:pt>
                <c:pt idx="49">
                  <c:v>6.0332449032008943</c:v>
                </c:pt>
                <c:pt idx="50">
                  <c:v>5.5161096257836757</c:v>
                </c:pt>
                <c:pt idx="51">
                  <c:v>6.5503801806181139</c:v>
                </c:pt>
                <c:pt idx="52">
                  <c:v>6.5503801806181139</c:v>
                </c:pt>
                <c:pt idx="53">
                  <c:v>6.3780017548123746</c:v>
                </c:pt>
                <c:pt idx="54">
                  <c:v>6.3780017548123746</c:v>
                </c:pt>
                <c:pt idx="55">
                  <c:v>6.3780017548123746</c:v>
                </c:pt>
                <c:pt idx="56">
                  <c:v>6.3780017548123746</c:v>
                </c:pt>
                <c:pt idx="57">
                  <c:v>5.688488051589415</c:v>
                </c:pt>
                <c:pt idx="58">
                  <c:v>4.9989743483664562</c:v>
                </c:pt>
                <c:pt idx="59">
                  <c:v>4.6542174967549759</c:v>
                </c:pt>
                <c:pt idx="60">
                  <c:v>4.1370822193377572</c:v>
                </c:pt>
                <c:pt idx="61">
                  <c:v>3.9647037935320171</c:v>
                </c:pt>
                <c:pt idx="62">
                  <c:v>3.9647037935320171</c:v>
                </c:pt>
                <c:pt idx="63">
                  <c:v>3.2751900903090569</c:v>
                </c:pt>
                <c:pt idx="64">
                  <c:v>3.2751900903090569</c:v>
                </c:pt>
                <c:pt idx="65">
                  <c:v>2.5856763870860977</c:v>
                </c:pt>
                <c:pt idx="66">
                  <c:v>3.1028116645033172</c:v>
                </c:pt>
                <c:pt idx="67">
                  <c:v>3.7923253677262765</c:v>
                </c:pt>
                <c:pt idx="68">
                  <c:v>3.9647037935320171</c:v>
                </c:pt>
                <c:pt idx="69">
                  <c:v>3.9647037935320171</c:v>
                </c:pt>
                <c:pt idx="70">
                  <c:v>3.9647037935320171</c:v>
                </c:pt>
                <c:pt idx="71">
                  <c:v>4.6542174967549759</c:v>
                </c:pt>
                <c:pt idx="72">
                  <c:v>4.6542174967549759</c:v>
                </c:pt>
                <c:pt idx="73">
                  <c:v>4.826595922560716</c:v>
                </c:pt>
                <c:pt idx="74">
                  <c:v>4.6542174967549759</c:v>
                </c:pt>
                <c:pt idx="75">
                  <c:v>4.4818390709492366</c:v>
                </c:pt>
                <c:pt idx="76">
                  <c:v>4.3094606451434965</c:v>
                </c:pt>
                <c:pt idx="77">
                  <c:v>4.9989743483664562</c:v>
                </c:pt>
                <c:pt idx="78">
                  <c:v>4.4818390709492366</c:v>
                </c:pt>
                <c:pt idx="79">
                  <c:v>5.3437311999779356</c:v>
                </c:pt>
                <c:pt idx="80">
                  <c:v>5.1713527741721954</c:v>
                </c:pt>
                <c:pt idx="81">
                  <c:v>5.688488051589415</c:v>
                </c:pt>
                <c:pt idx="82">
                  <c:v>5.5161096257836757</c:v>
                </c:pt>
                <c:pt idx="83">
                  <c:v>5.688488051589415</c:v>
                </c:pt>
                <c:pt idx="84">
                  <c:v>6.0332449032008943</c:v>
                </c:pt>
                <c:pt idx="85">
                  <c:v>7.2398938838410736</c:v>
                </c:pt>
                <c:pt idx="86">
                  <c:v>6.3780017548123746</c:v>
                </c:pt>
                <c:pt idx="87">
                  <c:v>6.8951370322295942</c:v>
                </c:pt>
                <c:pt idx="88">
                  <c:v>7.2398938838410736</c:v>
                </c:pt>
                <c:pt idx="89">
                  <c:v>7.4122723096468137</c:v>
                </c:pt>
                <c:pt idx="90">
                  <c:v>8.1017860128697734</c:v>
                </c:pt>
                <c:pt idx="91">
                  <c:v>8.1017860128697734</c:v>
                </c:pt>
                <c:pt idx="92">
                  <c:v>7.4122723096468137</c:v>
                </c:pt>
                <c:pt idx="93">
                  <c:v>9.1360565677042125</c:v>
                </c:pt>
                <c:pt idx="94">
                  <c:v>12.23886823220753</c:v>
                </c:pt>
                <c:pt idx="95">
                  <c:v>13.100760361236228</c:v>
                </c:pt>
                <c:pt idx="96">
                  <c:v>13.962652490264929</c:v>
                </c:pt>
                <c:pt idx="97">
                  <c:v>15.858815174128068</c:v>
                </c:pt>
                <c:pt idx="98">
                  <c:v>17.754977857991204</c:v>
                </c:pt>
                <c:pt idx="99">
                  <c:v>19.995897393465825</c:v>
                </c:pt>
                <c:pt idx="100">
                  <c:v>21.547303225717481</c:v>
                </c:pt>
                <c:pt idx="101">
                  <c:v>21.892060077328964</c:v>
                </c:pt>
                <c:pt idx="102">
                  <c:v>21.892060077328964</c:v>
                </c:pt>
                <c:pt idx="103">
                  <c:v>21.374924799911742</c:v>
                </c:pt>
                <c:pt idx="104">
                  <c:v>23.271087483774881</c:v>
                </c:pt>
                <c:pt idx="105">
                  <c:v>26.373899148278195</c:v>
                </c:pt>
                <c:pt idx="106">
                  <c:v>26.89103442569542</c:v>
                </c:pt>
                <c:pt idx="107">
                  <c:v>26.71865599988968</c:v>
                </c:pt>
                <c:pt idx="108">
                  <c:v>26.373899148278195</c:v>
                </c:pt>
                <c:pt idx="109">
                  <c:v>26.71865599988968</c:v>
                </c:pt>
                <c:pt idx="110">
                  <c:v>26.546277574083941</c:v>
                </c:pt>
                <c:pt idx="111">
                  <c:v>23.788222761192102</c:v>
                </c:pt>
                <c:pt idx="112">
                  <c:v>21.719681651523224</c:v>
                </c:pt>
                <c:pt idx="113">
                  <c:v>21.892060077328964</c:v>
                </c:pt>
                <c:pt idx="114">
                  <c:v>21.030167948300264</c:v>
                </c:pt>
                <c:pt idx="115">
                  <c:v>19.134005264437125</c:v>
                </c:pt>
                <c:pt idx="116">
                  <c:v>22.236816928940442</c:v>
                </c:pt>
                <c:pt idx="117">
                  <c:v>23.960601186997838</c:v>
                </c:pt>
                <c:pt idx="118">
                  <c:v>26.546277574083941</c:v>
                </c:pt>
                <c:pt idx="119">
                  <c:v>26.201520722472456</c:v>
                </c:pt>
                <c:pt idx="120">
                  <c:v>27.580548128918377</c:v>
                </c:pt>
                <c:pt idx="121">
                  <c:v>30.683359793421698</c:v>
                </c:pt>
                <c:pt idx="122">
                  <c:v>35.854712567593893</c:v>
                </c:pt>
                <c:pt idx="123">
                  <c:v>34.99282043856519</c:v>
                </c:pt>
                <c:pt idx="124">
                  <c:v>35.682334141788154</c:v>
                </c:pt>
                <c:pt idx="125">
                  <c:v>36.199469419205371</c:v>
                </c:pt>
                <c:pt idx="126">
                  <c:v>42.922228025629224</c:v>
                </c:pt>
                <c:pt idx="127">
                  <c:v>46.369796541744023</c:v>
                </c:pt>
                <c:pt idx="128">
                  <c:v>51.368770890110476</c:v>
                </c:pt>
                <c:pt idx="129">
                  <c:v>51.368770890110476</c:v>
                </c:pt>
                <c:pt idx="130">
                  <c:v>52.74779829655639</c:v>
                </c:pt>
                <c:pt idx="131">
                  <c:v>51.541149315916215</c:v>
                </c:pt>
                <c:pt idx="132">
                  <c:v>55.678231535253978</c:v>
                </c:pt>
                <c:pt idx="133">
                  <c:v>60.504827457814685</c:v>
                </c:pt>
                <c:pt idx="134">
                  <c:v>61.366719586843395</c:v>
                </c:pt>
                <c:pt idx="135">
                  <c:v>63.09050384490078</c:v>
                </c:pt>
                <c:pt idx="136">
                  <c:v>70.158019302936125</c:v>
                </c:pt>
                <c:pt idx="137">
                  <c:v>74.295101522273882</c:v>
                </c:pt>
                <c:pt idx="138">
                  <c:v>76.536021057748499</c:v>
                </c:pt>
                <c:pt idx="139">
                  <c:v>85.327320773841222</c:v>
                </c:pt>
                <c:pt idx="140">
                  <c:v>99.11759483830042</c:v>
                </c:pt>
                <c:pt idx="141">
                  <c:v>115.4935452898457</c:v>
                </c:pt>
                <c:pt idx="142">
                  <c:v>132.38663101880823</c:v>
                </c:pt>
                <c:pt idx="143">
                  <c:v>163.24236923803565</c:v>
                </c:pt>
                <c:pt idx="144">
                  <c:v>181.16972552183259</c:v>
                </c:pt>
                <c:pt idx="145">
                  <c:v>191.16767421856548</c:v>
                </c:pt>
                <c:pt idx="146">
                  <c:v>214.95589697975763</c:v>
                </c:pt>
                <c:pt idx="147">
                  <c:v>256.84385445055239</c:v>
                </c:pt>
                <c:pt idx="148">
                  <c:v>290.97478276008889</c:v>
                </c:pt>
                <c:pt idx="149">
                  <c:v>311.66019385677765</c:v>
                </c:pt>
                <c:pt idx="150">
                  <c:v>315.79727607611545</c:v>
                </c:pt>
                <c:pt idx="151">
                  <c:v>365.09750585655701</c:v>
                </c:pt>
                <c:pt idx="152">
                  <c:v>389.05810704355486</c:v>
                </c:pt>
                <c:pt idx="153">
                  <c:v>412.67395137894118</c:v>
                </c:pt>
                <c:pt idx="154">
                  <c:v>448.52866394653512</c:v>
                </c:pt>
                <c:pt idx="155">
                  <c:v>481.7977001270429</c:v>
                </c:pt>
                <c:pt idx="156">
                  <c:v>527.82273981717537</c:v>
                </c:pt>
                <c:pt idx="157">
                  <c:v>570.22783256538742</c:v>
                </c:pt>
                <c:pt idx="158">
                  <c:v>584.87999875887533</c:v>
                </c:pt>
                <c:pt idx="159">
                  <c:v>577.12296959761704</c:v>
                </c:pt>
                <c:pt idx="160">
                  <c:v>594.70556902980252</c:v>
                </c:pt>
                <c:pt idx="161">
                  <c:v>660.72650611340089</c:v>
                </c:pt>
                <c:pt idx="162">
                  <c:v>727.95409217763938</c:v>
                </c:pt>
                <c:pt idx="163">
                  <c:v>725.54079421635902</c:v>
                </c:pt>
                <c:pt idx="164">
                  <c:v>802.5939505515247</c:v>
                </c:pt>
                <c:pt idx="165">
                  <c:v>847.23996283521137</c:v>
                </c:pt>
                <c:pt idx="166">
                  <c:v>881.71564799635951</c:v>
                </c:pt>
                <c:pt idx="167">
                  <c:v>910.33046668011229</c:v>
                </c:pt>
                <c:pt idx="168">
                  <c:v>1030.1334726151013</c:v>
                </c:pt>
                <c:pt idx="169">
                  <c:v>1047.0265583440639</c:v>
                </c:pt>
                <c:pt idx="170">
                  <c:v>1090.9830569245275</c:v>
                </c:pt>
                <c:pt idx="171">
                  <c:v>1171.8285386274194</c:v>
                </c:pt>
                <c:pt idx="172">
                  <c:v>1249.0540733883911</c:v>
                </c:pt>
                <c:pt idx="173">
                  <c:v>1278.5307842011725</c:v>
                </c:pt>
                <c:pt idx="174">
                  <c:v>1300.9399795559189</c:v>
                </c:pt>
                <c:pt idx="175">
                  <c:v>1329.7271766654771</c:v>
                </c:pt>
                <c:pt idx="176">
                  <c:v>1363.6857265492081</c:v>
                </c:pt>
                <c:pt idx="177">
                  <c:v>1564.8513494645065</c:v>
                </c:pt>
                <c:pt idx="178">
                  <c:v>1586.398652690224</c:v>
                </c:pt>
                <c:pt idx="179">
                  <c:v>1547.4411284581267</c:v>
                </c:pt>
                <c:pt idx="180">
                  <c:v>1557.0943203032482</c:v>
                </c:pt>
                <c:pt idx="181">
                  <c:v>1574.1597844580162</c:v>
                </c:pt>
                <c:pt idx="182">
                  <c:v>1565.7132415935353</c:v>
                </c:pt>
                <c:pt idx="183">
                  <c:v>1606.0497932320784</c:v>
                </c:pt>
                <c:pt idx="184">
                  <c:v>1505.3807925615263</c:v>
                </c:pt>
                <c:pt idx="185">
                  <c:v>1435.0503948327844</c:v>
                </c:pt>
                <c:pt idx="186">
                  <c:v>1410.4002799425634</c:v>
                </c:pt>
                <c:pt idx="187">
                  <c:v>1365.9266460846825</c:v>
                </c:pt>
                <c:pt idx="188">
                  <c:v>1335.0709078654552</c:v>
                </c:pt>
                <c:pt idx="189">
                  <c:v>1304.0427912204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115-44FD-973A-F27A14EC0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C$122:$C$344</c:f>
              <c:numCache>
                <c:formatCode>General</c:formatCode>
                <c:ptCount val="22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115-44FD-973A-F27A14EC0B1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D$122:$D$344</c:f>
              <c:numCache>
                <c:formatCode>General</c:formatCode>
                <c:ptCount val="223"/>
                <c:pt idx="185" formatCode="0">
                  <c:v>1547.4411284581267</c:v>
                </c:pt>
                <c:pt idx="186" formatCode="0">
                  <c:v>1527.962366342078</c:v>
                </c:pt>
                <c:pt idx="187" formatCode="0">
                  <c:v>1505.5531709873319</c:v>
                </c:pt>
                <c:pt idx="188">
                  <c:v>1483.8334893358087</c:v>
                </c:pt>
                <c:pt idx="189">
                  <c:v>1463.8375919423429</c:v>
                </c:pt>
                <c:pt idx="190">
                  <c:v>1440.2217476069566</c:v>
                </c:pt>
                <c:pt idx="191">
                  <c:v>1411.2621720715922</c:v>
                </c:pt>
                <c:pt idx="192">
                  <c:v>1384.3711376458969</c:v>
                </c:pt>
                <c:pt idx="193">
                  <c:v>1359.8934011814817</c:v>
                </c:pt>
                <c:pt idx="194">
                  <c:v>1336.7946921235127</c:v>
                </c:pt>
                <c:pt idx="195">
                  <c:v>1313.6959830655435</c:v>
                </c:pt>
                <c:pt idx="196">
                  <c:v>1290.252517155963</c:v>
                </c:pt>
                <c:pt idx="197">
                  <c:v>1266.291915968965</c:v>
                </c:pt>
                <c:pt idx="198">
                  <c:v>1242.503693207773</c:v>
                </c:pt>
                <c:pt idx="199">
                  <c:v>1220.2668762788323</c:v>
                </c:pt>
                <c:pt idx="200">
                  <c:v>1198.8919514789206</c:v>
                </c:pt>
                <c:pt idx="201">
                  <c:v>1177.6894051048146</c:v>
                </c:pt>
                <c:pt idx="202">
                  <c:v>1156.4868587307087</c:v>
                </c:pt>
                <c:pt idx="203">
                  <c:v>1135.4566907824085</c:v>
                </c:pt>
                <c:pt idx="204">
                  <c:v>1114.7712796857197</c:v>
                </c:pt>
                <c:pt idx="205">
                  <c:v>1094.9477607180595</c:v>
                </c:pt>
                <c:pt idx="206">
                  <c:v>1075.6413770278168</c:v>
                </c:pt>
                <c:pt idx="207">
                  <c:v>1056.5073717633795</c:v>
                </c:pt>
                <c:pt idx="208">
                  <c:v>1037.5457449247483</c:v>
                </c:pt>
                <c:pt idx="209">
                  <c:v>1018.9288749377283</c:v>
                </c:pt>
                <c:pt idx="210">
                  <c:v>1000.6567618023199</c:v>
                </c:pt>
                <c:pt idx="211">
                  <c:v>982.9017839443286</c:v>
                </c:pt>
                <c:pt idx="212">
                  <c:v>965.49156293794897</c:v>
                </c:pt>
                <c:pt idx="213">
                  <c:v>948.42609878318069</c:v>
                </c:pt>
                <c:pt idx="214">
                  <c:v>931.53301305421815</c:v>
                </c:pt>
                <c:pt idx="215">
                  <c:v>915.1570626026728</c:v>
                </c:pt>
                <c:pt idx="216">
                  <c:v>898.95349057693329</c:v>
                </c:pt>
                <c:pt idx="217">
                  <c:v>883.09467540280525</c:v>
                </c:pt>
                <c:pt idx="218">
                  <c:v>867.58061708028868</c:v>
                </c:pt>
                <c:pt idx="219">
                  <c:v>852.23893718357795</c:v>
                </c:pt>
                <c:pt idx="220">
                  <c:v>837.24201413847845</c:v>
                </c:pt>
                <c:pt idx="221">
                  <c:v>822.58984794499054</c:v>
                </c:pt>
                <c:pt idx="222">
                  <c:v>808.110060177308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115-44FD-973A-F27A14EC0B1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E$122:$E$344</c:f>
              <c:numCache>
                <c:formatCode>General</c:formatCode>
                <c:ptCount val="223"/>
                <c:pt idx="185" formatCode="0">
                  <c:v>1552.2677243806875</c:v>
                </c:pt>
                <c:pt idx="186" formatCode="0">
                  <c:v>1540.2012345742855</c:v>
                </c:pt>
                <c:pt idx="187" formatCode="0">
                  <c:v>1526.5833389356321</c:v>
                </c:pt>
                <c:pt idx="188">
                  <c:v>1514.689227555036</c:v>
                </c:pt>
                <c:pt idx="189">
                  <c:v>1506.0703062647492</c:v>
                </c:pt>
                <c:pt idx="190">
                  <c:v>1495.7276007164048</c:v>
                </c:pt>
                <c:pt idx="191">
                  <c:v>1482.1097050777512</c:v>
                </c:pt>
                <c:pt idx="192">
                  <c:v>1467.8022957358748</c:v>
                </c:pt>
                <c:pt idx="193">
                  <c:v>1454.7015353746385</c:v>
                </c:pt>
                <c:pt idx="194">
                  <c:v>1442.9798024198485</c:v>
                </c:pt>
                <c:pt idx="195">
                  <c:v>1431.7752047424754</c:v>
                </c:pt>
                <c:pt idx="196">
                  <c:v>1420.2258502134907</c:v>
                </c:pt>
                <c:pt idx="197">
                  <c:v>1407.8146035554773</c:v>
                </c:pt>
                <c:pt idx="198">
                  <c:v>1395.0586000458527</c:v>
                </c:pt>
                <c:pt idx="199">
                  <c:v>1383.1644886652566</c:v>
                </c:pt>
                <c:pt idx="200">
                  <c:v>1371.9598909878835</c:v>
                </c:pt>
                <c:pt idx="201">
                  <c:v>1360.7552933105103</c:v>
                </c:pt>
                <c:pt idx="202">
                  <c:v>1349.2059387815259</c:v>
                </c:pt>
                <c:pt idx="203">
                  <c:v>1337.6565842525413</c:v>
                </c:pt>
                <c:pt idx="204">
                  <c:v>1326.1072297235567</c:v>
                </c:pt>
                <c:pt idx="205">
                  <c:v>1314.9026320461837</c:v>
                </c:pt>
                <c:pt idx="206">
                  <c:v>1303.8704127946162</c:v>
                </c:pt>
                <c:pt idx="207">
                  <c:v>1293.0105719688547</c:v>
                </c:pt>
                <c:pt idx="208">
                  <c:v>1282.150731143093</c:v>
                </c:pt>
                <c:pt idx="209">
                  <c:v>1271.2908903173313</c:v>
                </c:pt>
                <c:pt idx="210">
                  <c:v>1260.6034279173755</c:v>
                </c:pt>
                <c:pt idx="211">
                  <c:v>1250.0883439432253</c:v>
                </c:pt>
                <c:pt idx="212">
                  <c:v>1239.7456383948809</c:v>
                </c:pt>
                <c:pt idx="213">
                  <c:v>1229.5753112723423</c:v>
                </c:pt>
                <c:pt idx="214">
                  <c:v>1219.2326057239979</c:v>
                </c:pt>
                <c:pt idx="215">
                  <c:v>1209.0622786014594</c:v>
                </c:pt>
                <c:pt idx="216">
                  <c:v>1199.0643299047265</c:v>
                </c:pt>
                <c:pt idx="217">
                  <c:v>1189.0663812079936</c:v>
                </c:pt>
                <c:pt idx="218">
                  <c:v>1179.2408109370665</c:v>
                </c:pt>
                <c:pt idx="219">
                  <c:v>1169.4152406661392</c:v>
                </c:pt>
                <c:pt idx="220">
                  <c:v>1159.5896703952121</c:v>
                </c:pt>
                <c:pt idx="221">
                  <c:v>1149.9364785500904</c:v>
                </c:pt>
                <c:pt idx="222">
                  <c:v>1140.45566513077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115-44FD-973A-F27A14EC0B1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F$122:$F$344</c:f>
              <c:numCache>
                <c:formatCode>General</c:formatCode>
                <c:ptCount val="223"/>
                <c:pt idx="185" formatCode="0">
                  <c:v>1561.7485378000031</c:v>
                </c:pt>
                <c:pt idx="186" formatCode="0">
                  <c:v>1564.506592612895</c:v>
                </c:pt>
                <c:pt idx="187" formatCode="0">
                  <c:v>1568.8160532580387</c:v>
                </c:pt>
                <c:pt idx="188">
                  <c:v>1576.4007039934909</c:v>
                </c:pt>
                <c:pt idx="189">
                  <c:v>1590.7081133353674</c:v>
                </c:pt>
                <c:pt idx="190">
                  <c:v>1607.7735774901357</c:v>
                </c:pt>
                <c:pt idx="191">
                  <c:v>1626.3904474771555</c:v>
                </c:pt>
                <c:pt idx="192">
                  <c:v>1640.0083431158091</c:v>
                </c:pt>
                <c:pt idx="193">
                  <c:v>1652.9367250512396</c:v>
                </c:pt>
                <c:pt idx="194">
                  <c:v>1667.2441343931157</c:v>
                </c:pt>
                <c:pt idx="195">
                  <c:v>1684.1372201220784</c:v>
                </c:pt>
                <c:pt idx="196">
                  <c:v>1701.8921979800696</c:v>
                </c:pt>
                <c:pt idx="197">
                  <c:v>1718.785283709032</c:v>
                </c:pt>
                <c:pt idx="198">
                  <c:v>1734.64409888316</c:v>
                </c:pt>
                <c:pt idx="199">
                  <c:v>1749.9857787798708</c:v>
                </c:pt>
                <c:pt idx="200">
                  <c:v>1766.3617292314161</c:v>
                </c:pt>
                <c:pt idx="201">
                  <c:v>1783.7719502377961</c:v>
                </c:pt>
                <c:pt idx="202">
                  <c:v>1801.5269280957873</c:v>
                </c:pt>
                <c:pt idx="203">
                  <c:v>1818.764770676361</c:v>
                </c:pt>
                <c:pt idx="204">
                  <c:v>1835.6578564053236</c:v>
                </c:pt>
                <c:pt idx="205">
                  <c:v>1852.7233205600919</c:v>
                </c:pt>
                <c:pt idx="206">
                  <c:v>1870.3059199922775</c:v>
                </c:pt>
                <c:pt idx="207">
                  <c:v>1888.2332762760745</c:v>
                </c:pt>
                <c:pt idx="208">
                  <c:v>1906.333010985677</c:v>
                </c:pt>
                <c:pt idx="209">
                  <c:v>1924.4327456952797</c:v>
                </c:pt>
                <c:pt idx="210">
                  <c:v>1942.5324804048826</c:v>
                </c:pt>
                <c:pt idx="211">
                  <c:v>1960.8045935402909</c:v>
                </c:pt>
                <c:pt idx="212">
                  <c:v>1979.4214635273108</c:v>
                </c:pt>
                <c:pt idx="213">
                  <c:v>1998.2107119401362</c:v>
                </c:pt>
                <c:pt idx="214">
                  <c:v>2017.3447172045735</c:v>
                </c:pt>
                <c:pt idx="215">
                  <c:v>2036.4787224690106</c:v>
                </c:pt>
                <c:pt idx="216">
                  <c:v>2055.6127277334481</c:v>
                </c:pt>
                <c:pt idx="217">
                  <c:v>2075.0914898494966</c:v>
                </c:pt>
                <c:pt idx="218">
                  <c:v>2094.7426303913508</c:v>
                </c:pt>
                <c:pt idx="219">
                  <c:v>2114.566149359011</c:v>
                </c:pt>
                <c:pt idx="220">
                  <c:v>2134.5620467524768</c:v>
                </c:pt>
                <c:pt idx="221">
                  <c:v>2154.5579441459422</c:v>
                </c:pt>
                <c:pt idx="222">
                  <c:v>2174.89859839101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2115-44FD-973A-F27A14EC0B1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G$122:$G$344</c:f>
              <c:numCache>
                <c:formatCode>General</c:formatCode>
                <c:ptCount val="223"/>
                <c:pt idx="185" formatCode="0">
                  <c:v>1566.5751337225638</c:v>
                </c:pt>
                <c:pt idx="186" formatCode="0">
                  <c:v>1576.9178392709082</c:v>
                </c:pt>
                <c:pt idx="187" formatCode="0">
                  <c:v>1590.0185996321443</c:v>
                </c:pt>
                <c:pt idx="188">
                  <c:v>1607.428820638524</c:v>
                </c:pt>
                <c:pt idx="189">
                  <c:v>1633.4579629351908</c:v>
                </c:pt>
                <c:pt idx="190">
                  <c:v>1664.6584580060298</c:v>
                </c:pt>
                <c:pt idx="191">
                  <c:v>1700.1684137220125</c:v>
                </c:pt>
                <c:pt idx="192">
                  <c:v>1728.7832324057651</c:v>
                </c:pt>
                <c:pt idx="193">
                  <c:v>1756.0190236830717</c:v>
                </c:pt>
                <c:pt idx="194">
                  <c:v>1785.3233560700478</c:v>
                </c:pt>
                <c:pt idx="195">
                  <c:v>1818.5923922505553</c:v>
                </c:pt>
                <c:pt idx="196">
                  <c:v>1853.7575911149265</c:v>
                </c:pt>
                <c:pt idx="197">
                  <c:v>1888.5780331276858</c:v>
                </c:pt>
                <c:pt idx="198">
                  <c:v>1922.3642045856109</c:v>
                </c:pt>
                <c:pt idx="199">
                  <c:v>1955.2884839145072</c:v>
                </c:pt>
                <c:pt idx="200">
                  <c:v>1989.7641690756552</c:v>
                </c:pt>
                <c:pt idx="201">
                  <c:v>2026.3083953464723</c:v>
                </c:pt>
                <c:pt idx="202">
                  <c:v>2063.8868921721232</c:v>
                </c:pt>
                <c:pt idx="203">
                  <c:v>2101.4653889977744</c:v>
                </c:pt>
                <c:pt idx="204">
                  <c:v>2138.8715073976205</c:v>
                </c:pt>
                <c:pt idx="205">
                  <c:v>2176.7947610748829</c:v>
                </c:pt>
                <c:pt idx="206">
                  <c:v>2215.75228530698</c:v>
                </c:pt>
                <c:pt idx="207">
                  <c:v>2255.9164585197177</c:v>
                </c:pt>
                <c:pt idx="208">
                  <c:v>2296.9425238614836</c:v>
                </c:pt>
                <c:pt idx="209">
                  <c:v>2338.4857244806672</c:v>
                </c:pt>
                <c:pt idx="210">
                  <c:v>2380.2013035256559</c:v>
                </c:pt>
                <c:pt idx="211">
                  <c:v>2422.6063962738681</c:v>
                </c:pt>
                <c:pt idx="212">
                  <c:v>2466.0457595769144</c:v>
                </c:pt>
                <c:pt idx="213">
                  <c:v>2510.5193934347949</c:v>
                </c:pt>
                <c:pt idx="214">
                  <c:v>2555.8549194217048</c:v>
                </c:pt>
                <c:pt idx="215">
                  <c:v>2601.7075806860316</c:v>
                </c:pt>
                <c:pt idx="216">
                  <c:v>2648.0773772277757</c:v>
                </c:pt>
                <c:pt idx="217">
                  <c:v>2695.3090658985484</c:v>
                </c:pt>
                <c:pt idx="218">
                  <c:v>2743.5750251241557</c:v>
                </c:pt>
                <c:pt idx="219">
                  <c:v>2792.8752549045971</c:v>
                </c:pt>
                <c:pt idx="220">
                  <c:v>2842.8649983882619</c:v>
                </c:pt>
                <c:pt idx="221">
                  <c:v>2893.7166340009549</c:v>
                </c:pt>
                <c:pt idx="222">
                  <c:v>2945.43016174267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2115-44FD-973A-F27A14EC0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B$244:$B$497</c:f>
              <c:numCache>
                <c:formatCode>0</c:formatCode>
                <c:ptCount val="254"/>
                <c:pt idx="0">
                  <c:v>160</c:v>
                </c:pt>
                <c:pt idx="1">
                  <c:v>68</c:v>
                </c:pt>
                <c:pt idx="2">
                  <c:v>328</c:v>
                </c:pt>
                <c:pt idx="3">
                  <c:v>351</c:v>
                </c:pt>
                <c:pt idx="4">
                  <c:v>277</c:v>
                </c:pt>
                <c:pt idx="5">
                  <c:v>212</c:v>
                </c:pt>
                <c:pt idx="6">
                  <c:v>236</c:v>
                </c:pt>
                <c:pt idx="7">
                  <c:v>131</c:v>
                </c:pt>
                <c:pt idx="8">
                  <c:v>55</c:v>
                </c:pt>
                <c:pt idx="9">
                  <c:v>300</c:v>
                </c:pt>
                <c:pt idx="10">
                  <c:v>254</c:v>
                </c:pt>
                <c:pt idx="11">
                  <c:v>165</c:v>
                </c:pt>
                <c:pt idx="12">
                  <c:v>242</c:v>
                </c:pt>
                <c:pt idx="13">
                  <c:v>175</c:v>
                </c:pt>
                <c:pt idx="14">
                  <c:v>96</c:v>
                </c:pt>
                <c:pt idx="15">
                  <c:v>44</c:v>
                </c:pt>
                <c:pt idx="16">
                  <c:v>162</c:v>
                </c:pt>
                <c:pt idx="17">
                  <c:v>211</c:v>
                </c:pt>
                <c:pt idx="18">
                  <c:v>109</c:v>
                </c:pt>
                <c:pt idx="19">
                  <c:v>115</c:v>
                </c:pt>
                <c:pt idx="20">
                  <c:v>81</c:v>
                </c:pt>
                <c:pt idx="21">
                  <c:v>73</c:v>
                </c:pt>
                <c:pt idx="22">
                  <c:v>27</c:v>
                </c:pt>
                <c:pt idx="23">
                  <c:v>124</c:v>
                </c:pt>
                <c:pt idx="24">
                  <c:v>95</c:v>
                </c:pt>
                <c:pt idx="25">
                  <c:v>81</c:v>
                </c:pt>
                <c:pt idx="26">
                  <c:v>82</c:v>
                </c:pt>
                <c:pt idx="27">
                  <c:v>52</c:v>
                </c:pt>
                <c:pt idx="28">
                  <c:v>23</c:v>
                </c:pt>
                <c:pt idx="29">
                  <c:v>22</c:v>
                </c:pt>
                <c:pt idx="30">
                  <c:v>68</c:v>
                </c:pt>
                <c:pt idx="31">
                  <c:v>78</c:v>
                </c:pt>
                <c:pt idx="32">
                  <c:v>49</c:v>
                </c:pt>
                <c:pt idx="33">
                  <c:v>54</c:v>
                </c:pt>
                <c:pt idx="34">
                  <c:v>43</c:v>
                </c:pt>
                <c:pt idx="35">
                  <c:v>19</c:v>
                </c:pt>
                <c:pt idx="36">
                  <c:v>10</c:v>
                </c:pt>
                <c:pt idx="37">
                  <c:v>46</c:v>
                </c:pt>
                <c:pt idx="38">
                  <c:v>35</c:v>
                </c:pt>
                <c:pt idx="39">
                  <c:v>36</c:v>
                </c:pt>
                <c:pt idx="40">
                  <c:v>19</c:v>
                </c:pt>
                <c:pt idx="41">
                  <c:v>17</c:v>
                </c:pt>
                <c:pt idx="42">
                  <c:v>17</c:v>
                </c:pt>
                <c:pt idx="43">
                  <c:v>7</c:v>
                </c:pt>
                <c:pt idx="44">
                  <c:v>16</c:v>
                </c:pt>
                <c:pt idx="45">
                  <c:v>24</c:v>
                </c:pt>
                <c:pt idx="46">
                  <c:v>14</c:v>
                </c:pt>
                <c:pt idx="47">
                  <c:v>26</c:v>
                </c:pt>
                <c:pt idx="48">
                  <c:v>15</c:v>
                </c:pt>
                <c:pt idx="49">
                  <c:v>5</c:v>
                </c:pt>
                <c:pt idx="50">
                  <c:v>6</c:v>
                </c:pt>
                <c:pt idx="51">
                  <c:v>17</c:v>
                </c:pt>
                <c:pt idx="52">
                  <c:v>15</c:v>
                </c:pt>
                <c:pt idx="53">
                  <c:v>16</c:v>
                </c:pt>
                <c:pt idx="54">
                  <c:v>7</c:v>
                </c:pt>
                <c:pt idx="55">
                  <c:v>15</c:v>
                </c:pt>
                <c:pt idx="56">
                  <c:v>6</c:v>
                </c:pt>
                <c:pt idx="57">
                  <c:v>5</c:v>
                </c:pt>
                <c:pt idx="58">
                  <c:v>16</c:v>
                </c:pt>
                <c:pt idx="59">
                  <c:v>18</c:v>
                </c:pt>
                <c:pt idx="60">
                  <c:v>12</c:v>
                </c:pt>
                <c:pt idx="61">
                  <c:v>15</c:v>
                </c:pt>
                <c:pt idx="62">
                  <c:v>15</c:v>
                </c:pt>
                <c:pt idx="63">
                  <c:v>13</c:v>
                </c:pt>
                <c:pt idx="64">
                  <c:v>0</c:v>
                </c:pt>
                <c:pt idx="65">
                  <c:v>8</c:v>
                </c:pt>
                <c:pt idx="66">
                  <c:v>4</c:v>
                </c:pt>
                <c:pt idx="67">
                  <c:v>21</c:v>
                </c:pt>
                <c:pt idx="68">
                  <c:v>10</c:v>
                </c:pt>
                <c:pt idx="69">
                  <c:v>23</c:v>
                </c:pt>
                <c:pt idx="70">
                  <c:v>10</c:v>
                </c:pt>
                <c:pt idx="71">
                  <c:v>9</c:v>
                </c:pt>
                <c:pt idx="72">
                  <c:v>17</c:v>
                </c:pt>
                <c:pt idx="73">
                  <c:v>27</c:v>
                </c:pt>
                <c:pt idx="74">
                  <c:v>7</c:v>
                </c:pt>
                <c:pt idx="75">
                  <c:v>4</c:v>
                </c:pt>
                <c:pt idx="76">
                  <c:v>18</c:v>
                </c:pt>
                <c:pt idx="77">
                  <c:v>10</c:v>
                </c:pt>
                <c:pt idx="78">
                  <c:v>8</c:v>
                </c:pt>
                <c:pt idx="79">
                  <c:v>16</c:v>
                </c:pt>
                <c:pt idx="80">
                  <c:v>18</c:v>
                </c:pt>
                <c:pt idx="81">
                  <c:v>17</c:v>
                </c:pt>
                <c:pt idx="82">
                  <c:v>11</c:v>
                </c:pt>
                <c:pt idx="83">
                  <c:v>10</c:v>
                </c:pt>
                <c:pt idx="84">
                  <c:v>4</c:v>
                </c:pt>
                <c:pt idx="85">
                  <c:v>4</c:v>
                </c:pt>
                <c:pt idx="86">
                  <c:v>8</c:v>
                </c:pt>
                <c:pt idx="87">
                  <c:v>11</c:v>
                </c:pt>
                <c:pt idx="88">
                  <c:v>8</c:v>
                </c:pt>
                <c:pt idx="89">
                  <c:v>8</c:v>
                </c:pt>
                <c:pt idx="90">
                  <c:v>9</c:v>
                </c:pt>
                <c:pt idx="91">
                  <c:v>8</c:v>
                </c:pt>
                <c:pt idx="92">
                  <c:v>0</c:v>
                </c:pt>
                <c:pt idx="93">
                  <c:v>5</c:v>
                </c:pt>
                <c:pt idx="94">
                  <c:v>14</c:v>
                </c:pt>
                <c:pt idx="95">
                  <c:v>14</c:v>
                </c:pt>
                <c:pt idx="96">
                  <c:v>9</c:v>
                </c:pt>
                <c:pt idx="97">
                  <c:v>8</c:v>
                </c:pt>
                <c:pt idx="98">
                  <c:v>9</c:v>
                </c:pt>
                <c:pt idx="99">
                  <c:v>3</c:v>
                </c:pt>
                <c:pt idx="100">
                  <c:v>13</c:v>
                </c:pt>
                <c:pt idx="101">
                  <c:v>21</c:v>
                </c:pt>
                <c:pt idx="102">
                  <c:v>17</c:v>
                </c:pt>
                <c:pt idx="103">
                  <c:v>12</c:v>
                </c:pt>
                <c:pt idx="104">
                  <c:v>6</c:v>
                </c:pt>
                <c:pt idx="105">
                  <c:v>12</c:v>
                </c:pt>
                <c:pt idx="106">
                  <c:v>6</c:v>
                </c:pt>
                <c:pt idx="107">
                  <c:v>13</c:v>
                </c:pt>
                <c:pt idx="108">
                  <c:v>23</c:v>
                </c:pt>
                <c:pt idx="109">
                  <c:v>15</c:v>
                </c:pt>
                <c:pt idx="110">
                  <c:v>18</c:v>
                </c:pt>
                <c:pt idx="111">
                  <c:v>6</c:v>
                </c:pt>
                <c:pt idx="112">
                  <c:v>6</c:v>
                </c:pt>
                <c:pt idx="113">
                  <c:v>5</c:v>
                </c:pt>
                <c:pt idx="114">
                  <c:v>12</c:v>
                </c:pt>
                <c:pt idx="115">
                  <c:v>12</c:v>
                </c:pt>
                <c:pt idx="116">
                  <c:v>23</c:v>
                </c:pt>
                <c:pt idx="117">
                  <c:v>11</c:v>
                </c:pt>
                <c:pt idx="118">
                  <c:v>13</c:v>
                </c:pt>
                <c:pt idx="119">
                  <c:v>8</c:v>
                </c:pt>
                <c:pt idx="120">
                  <c:v>5</c:v>
                </c:pt>
                <c:pt idx="121">
                  <c:v>21</c:v>
                </c:pt>
                <c:pt idx="122">
                  <c:v>28</c:v>
                </c:pt>
                <c:pt idx="123">
                  <c:v>14</c:v>
                </c:pt>
                <c:pt idx="124">
                  <c:v>22</c:v>
                </c:pt>
                <c:pt idx="125">
                  <c:v>43</c:v>
                </c:pt>
                <c:pt idx="126">
                  <c:v>14</c:v>
                </c:pt>
                <c:pt idx="127">
                  <c:v>8</c:v>
                </c:pt>
                <c:pt idx="128">
                  <c:v>37</c:v>
                </c:pt>
                <c:pt idx="129">
                  <c:v>60</c:v>
                </c:pt>
                <c:pt idx="130">
                  <c:v>52</c:v>
                </c:pt>
                <c:pt idx="131">
                  <c:v>55</c:v>
                </c:pt>
                <c:pt idx="132">
                  <c:v>55</c:v>
                </c:pt>
                <c:pt idx="133">
                  <c:v>40</c:v>
                </c:pt>
                <c:pt idx="134">
                  <c:v>17</c:v>
                </c:pt>
                <c:pt idx="135">
                  <c:v>77</c:v>
                </c:pt>
                <c:pt idx="136">
                  <c:v>83</c:v>
                </c:pt>
                <c:pt idx="137">
                  <c:v>85</c:v>
                </c:pt>
                <c:pt idx="138">
                  <c:v>66</c:v>
                </c:pt>
                <c:pt idx="139">
                  <c:v>88</c:v>
                </c:pt>
                <c:pt idx="140">
                  <c:v>35</c:v>
                </c:pt>
                <c:pt idx="141">
                  <c:v>37</c:v>
                </c:pt>
                <c:pt idx="142">
                  <c:v>96</c:v>
                </c:pt>
                <c:pt idx="143">
                  <c:v>107</c:v>
                </c:pt>
                <c:pt idx="144">
                  <c:v>95</c:v>
                </c:pt>
                <c:pt idx="145">
                  <c:v>98</c:v>
                </c:pt>
                <c:pt idx="146">
                  <c:v>97</c:v>
                </c:pt>
                <c:pt idx="147">
                  <c:v>52</c:v>
                </c:pt>
                <c:pt idx="148">
                  <c:v>30</c:v>
                </c:pt>
                <c:pt idx="149">
                  <c:v>124</c:v>
                </c:pt>
                <c:pt idx="150">
                  <c:v>66</c:v>
                </c:pt>
                <c:pt idx="151">
                  <c:v>96</c:v>
                </c:pt>
                <c:pt idx="152">
                  <c:v>155</c:v>
                </c:pt>
                <c:pt idx="153">
                  <c:v>129</c:v>
                </c:pt>
                <c:pt idx="154">
                  <c:v>86</c:v>
                </c:pt>
                <c:pt idx="155">
                  <c:v>64</c:v>
                </c:pt>
                <c:pt idx="156">
                  <c:v>123</c:v>
                </c:pt>
                <c:pt idx="157">
                  <c:v>224</c:v>
                </c:pt>
                <c:pt idx="158">
                  <c:v>202</c:v>
                </c:pt>
                <c:pt idx="159">
                  <c:v>172</c:v>
                </c:pt>
                <c:pt idx="160">
                  <c:v>208</c:v>
                </c:pt>
                <c:pt idx="161">
                  <c:v>138</c:v>
                </c:pt>
                <c:pt idx="162">
                  <c:v>73</c:v>
                </c:pt>
                <c:pt idx="163">
                  <c:v>240</c:v>
                </c:pt>
                <c:pt idx="164">
                  <c:v>288</c:v>
                </c:pt>
                <c:pt idx="165">
                  <c:v>272</c:v>
                </c:pt>
                <c:pt idx="166">
                  <c:v>252</c:v>
                </c:pt>
                <c:pt idx="167">
                  <c:v>361</c:v>
                </c:pt>
                <c:pt idx="168">
                  <c:v>195</c:v>
                </c:pt>
                <c:pt idx="169">
                  <c:v>181</c:v>
                </c:pt>
                <c:pt idx="170">
                  <c:v>501</c:v>
                </c:pt>
                <c:pt idx="171">
                  <c:v>581</c:v>
                </c:pt>
                <c:pt idx="172">
                  <c:v>595</c:v>
                </c:pt>
                <c:pt idx="173">
                  <c:v>550</c:v>
                </c:pt>
                <c:pt idx="174">
                  <c:v>673</c:v>
                </c:pt>
                <c:pt idx="175">
                  <c:v>460</c:v>
                </c:pt>
                <c:pt idx="176">
                  <c:v>332</c:v>
                </c:pt>
                <c:pt idx="177">
                  <c:v>709</c:v>
                </c:pt>
                <c:pt idx="178">
                  <c:v>926</c:v>
                </c:pt>
                <c:pt idx="179">
                  <c:v>889</c:v>
                </c:pt>
                <c:pt idx="180">
                  <c:v>684</c:v>
                </c:pt>
                <c:pt idx="181">
                  <c:v>918</c:v>
                </c:pt>
                <c:pt idx="182">
                  <c:v>707</c:v>
                </c:pt>
                <c:pt idx="183">
                  <c:v>494</c:v>
                </c:pt>
                <c:pt idx="184">
                  <c:v>1246</c:v>
                </c:pt>
                <c:pt idx="185">
                  <c:v>1422</c:v>
                </c:pt>
                <c:pt idx="186">
                  <c:v>1580</c:v>
                </c:pt>
                <c:pt idx="187">
                  <c:v>1292</c:v>
                </c:pt>
                <c:pt idx="188">
                  <c:v>1372</c:v>
                </c:pt>
                <c:pt idx="189">
                  <c:v>721</c:v>
                </c:pt>
                <c:pt idx="190">
                  <c:v>397</c:v>
                </c:pt>
                <c:pt idx="191">
                  <c:v>1290</c:v>
                </c:pt>
                <c:pt idx="192">
                  <c:v>2044</c:v>
                </c:pt>
                <c:pt idx="193">
                  <c:v>1953</c:v>
                </c:pt>
                <c:pt idx="194">
                  <c:v>1325</c:v>
                </c:pt>
                <c:pt idx="195">
                  <c:v>2307</c:v>
                </c:pt>
                <c:pt idx="196">
                  <c:v>966</c:v>
                </c:pt>
                <c:pt idx="197">
                  <c:v>764</c:v>
                </c:pt>
                <c:pt idx="198">
                  <c:v>1567</c:v>
                </c:pt>
                <c:pt idx="199">
                  <c:v>2672</c:v>
                </c:pt>
                <c:pt idx="200">
                  <c:v>2011</c:v>
                </c:pt>
                <c:pt idx="201">
                  <c:v>1612</c:v>
                </c:pt>
                <c:pt idx="202">
                  <c:v>2904</c:v>
                </c:pt>
                <c:pt idx="203">
                  <c:v>1862</c:v>
                </c:pt>
                <c:pt idx="204">
                  <c:v>1328</c:v>
                </c:pt>
                <c:pt idx="205">
                  <c:v>1880</c:v>
                </c:pt>
                <c:pt idx="206">
                  <c:v>3055</c:v>
                </c:pt>
                <c:pt idx="207">
                  <c:v>2391</c:v>
                </c:pt>
                <c:pt idx="208">
                  <c:v>4039</c:v>
                </c:pt>
                <c:pt idx="209">
                  <c:v>2366</c:v>
                </c:pt>
                <c:pt idx="210">
                  <c:v>1866</c:v>
                </c:pt>
                <c:pt idx="211">
                  <c:v>1221</c:v>
                </c:pt>
                <c:pt idx="212">
                  <c:v>2262</c:v>
                </c:pt>
                <c:pt idx="213">
                  <c:v>2273</c:v>
                </c:pt>
                <c:pt idx="214">
                  <c:v>2891</c:v>
                </c:pt>
                <c:pt idx="215">
                  <c:v>2126</c:v>
                </c:pt>
                <c:pt idx="216">
                  <c:v>1987</c:v>
                </c:pt>
                <c:pt idx="217">
                  <c:v>1477</c:v>
                </c:pt>
                <c:pt idx="218">
                  <c:v>897</c:v>
                </c:pt>
                <c:pt idx="219">
                  <c:v>1707</c:v>
                </c:pt>
                <c:pt idx="220">
                  <c:v>25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2C-425E-A01F-BB5EB831CF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C$244:$C$497</c:f>
              <c:numCache>
                <c:formatCode>General</c:formatCode>
                <c:ptCount val="25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2C-425E-A01F-BB5EB831CF7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D$244:$D$497</c:f>
              <c:numCache>
                <c:formatCode>General</c:formatCode>
                <c:ptCount val="254"/>
                <c:pt idx="73">
                  <c:v>0</c:v>
                </c:pt>
                <c:pt idx="216">
                  <c:v>2448</c:v>
                </c:pt>
                <c:pt idx="217">
                  <c:v>2379</c:v>
                </c:pt>
                <c:pt idx="218">
                  <c:v>2328</c:v>
                </c:pt>
                <c:pt idx="219">
                  <c:v>2298</c:v>
                </c:pt>
                <c:pt idx="220">
                  <c:v>2267</c:v>
                </c:pt>
                <c:pt idx="221">
                  <c:v>2235</c:v>
                </c:pt>
                <c:pt idx="222">
                  <c:v>2192</c:v>
                </c:pt>
                <c:pt idx="223">
                  <c:v>2139</c:v>
                </c:pt>
                <c:pt idx="224">
                  <c:v>2098</c:v>
                </c:pt>
                <c:pt idx="225">
                  <c:v>2065</c:v>
                </c:pt>
                <c:pt idx="226">
                  <c:v>2034</c:v>
                </c:pt>
                <c:pt idx="227">
                  <c:v>1998</c:v>
                </c:pt>
                <c:pt idx="228">
                  <c:v>1960</c:v>
                </c:pt>
                <c:pt idx="229">
                  <c:v>1921</c:v>
                </c:pt>
                <c:pt idx="230">
                  <c:v>1886</c:v>
                </c:pt>
                <c:pt idx="231">
                  <c:v>1854</c:v>
                </c:pt>
                <c:pt idx="232">
                  <c:v>1823</c:v>
                </c:pt>
                <c:pt idx="233">
                  <c:v>1790</c:v>
                </c:pt>
                <c:pt idx="234">
                  <c:v>1757</c:v>
                </c:pt>
                <c:pt idx="235">
                  <c:v>1724</c:v>
                </c:pt>
                <c:pt idx="236">
                  <c:v>1694</c:v>
                </c:pt>
                <c:pt idx="237">
                  <c:v>1664</c:v>
                </c:pt>
                <c:pt idx="238">
                  <c:v>1635</c:v>
                </c:pt>
                <c:pt idx="239">
                  <c:v>1606</c:v>
                </c:pt>
                <c:pt idx="240">
                  <c:v>1577</c:v>
                </c:pt>
                <c:pt idx="241">
                  <c:v>1549</c:v>
                </c:pt>
                <c:pt idx="242">
                  <c:v>1522</c:v>
                </c:pt>
                <c:pt idx="243">
                  <c:v>1495</c:v>
                </c:pt>
                <c:pt idx="244">
                  <c:v>1469</c:v>
                </c:pt>
                <c:pt idx="245">
                  <c:v>1443</c:v>
                </c:pt>
                <c:pt idx="246">
                  <c:v>1417</c:v>
                </c:pt>
                <c:pt idx="247">
                  <c:v>1392</c:v>
                </c:pt>
                <c:pt idx="248">
                  <c:v>1368</c:v>
                </c:pt>
                <c:pt idx="249">
                  <c:v>1344</c:v>
                </c:pt>
                <c:pt idx="250">
                  <c:v>1320</c:v>
                </c:pt>
                <c:pt idx="251">
                  <c:v>1297</c:v>
                </c:pt>
                <c:pt idx="252">
                  <c:v>1274</c:v>
                </c:pt>
                <c:pt idx="253">
                  <c:v>12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2C-425E-A01F-BB5EB831CF7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E$244:$E$497</c:f>
              <c:numCache>
                <c:formatCode>General</c:formatCode>
                <c:ptCount val="254"/>
                <c:pt idx="216">
                  <c:v>2502</c:v>
                </c:pt>
                <c:pt idx="217">
                  <c:v>2464</c:v>
                </c:pt>
                <c:pt idx="218">
                  <c:v>2430</c:v>
                </c:pt>
                <c:pt idx="219">
                  <c:v>2410</c:v>
                </c:pt>
                <c:pt idx="220">
                  <c:v>2396</c:v>
                </c:pt>
                <c:pt idx="221">
                  <c:v>2387</c:v>
                </c:pt>
                <c:pt idx="222">
                  <c:v>2368</c:v>
                </c:pt>
                <c:pt idx="223">
                  <c:v>2340</c:v>
                </c:pt>
                <c:pt idx="224">
                  <c:v>2314</c:v>
                </c:pt>
                <c:pt idx="225">
                  <c:v>2296</c:v>
                </c:pt>
                <c:pt idx="226">
                  <c:v>2281</c:v>
                </c:pt>
                <c:pt idx="227">
                  <c:v>2264</c:v>
                </c:pt>
                <c:pt idx="228">
                  <c:v>2245</c:v>
                </c:pt>
                <c:pt idx="229">
                  <c:v>2223</c:v>
                </c:pt>
                <c:pt idx="230">
                  <c:v>2202</c:v>
                </c:pt>
                <c:pt idx="231">
                  <c:v>2184</c:v>
                </c:pt>
                <c:pt idx="232">
                  <c:v>2168</c:v>
                </c:pt>
                <c:pt idx="233">
                  <c:v>2151</c:v>
                </c:pt>
                <c:pt idx="234">
                  <c:v>2132</c:v>
                </c:pt>
                <c:pt idx="235">
                  <c:v>2113</c:v>
                </c:pt>
                <c:pt idx="236">
                  <c:v>2095</c:v>
                </c:pt>
                <c:pt idx="237">
                  <c:v>2077</c:v>
                </c:pt>
                <c:pt idx="238">
                  <c:v>2061</c:v>
                </c:pt>
                <c:pt idx="239">
                  <c:v>2044</c:v>
                </c:pt>
                <c:pt idx="240">
                  <c:v>2026</c:v>
                </c:pt>
                <c:pt idx="241">
                  <c:v>2009</c:v>
                </c:pt>
                <c:pt idx="242">
                  <c:v>1992</c:v>
                </c:pt>
                <c:pt idx="243">
                  <c:v>1976</c:v>
                </c:pt>
                <c:pt idx="244">
                  <c:v>1959</c:v>
                </c:pt>
                <c:pt idx="245">
                  <c:v>1943</c:v>
                </c:pt>
                <c:pt idx="246">
                  <c:v>1927</c:v>
                </c:pt>
                <c:pt idx="247">
                  <c:v>1911</c:v>
                </c:pt>
                <c:pt idx="248">
                  <c:v>1895</c:v>
                </c:pt>
                <c:pt idx="249">
                  <c:v>1879</c:v>
                </c:pt>
                <c:pt idx="250">
                  <c:v>1864</c:v>
                </c:pt>
                <c:pt idx="251">
                  <c:v>1848</c:v>
                </c:pt>
                <c:pt idx="252">
                  <c:v>1833</c:v>
                </c:pt>
                <c:pt idx="253">
                  <c:v>18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2C-425E-A01F-BB5EB831CF7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F$244:$F$497</c:f>
              <c:numCache>
                <c:formatCode>General</c:formatCode>
                <c:ptCount val="254"/>
                <c:pt idx="216">
                  <c:v>2612</c:v>
                </c:pt>
                <c:pt idx="217">
                  <c:v>2634</c:v>
                </c:pt>
                <c:pt idx="218">
                  <c:v>2634</c:v>
                </c:pt>
                <c:pt idx="219">
                  <c:v>2633</c:v>
                </c:pt>
                <c:pt idx="220">
                  <c:v>2659</c:v>
                </c:pt>
                <c:pt idx="221">
                  <c:v>2700</c:v>
                </c:pt>
                <c:pt idx="222">
                  <c:v>2737</c:v>
                </c:pt>
                <c:pt idx="223">
                  <c:v>2767</c:v>
                </c:pt>
                <c:pt idx="224">
                  <c:v>2781</c:v>
                </c:pt>
                <c:pt idx="225">
                  <c:v>2799</c:v>
                </c:pt>
                <c:pt idx="226">
                  <c:v>2826</c:v>
                </c:pt>
                <c:pt idx="227">
                  <c:v>2862</c:v>
                </c:pt>
                <c:pt idx="228">
                  <c:v>2894</c:v>
                </c:pt>
                <c:pt idx="229">
                  <c:v>2920</c:v>
                </c:pt>
                <c:pt idx="230">
                  <c:v>2943</c:v>
                </c:pt>
                <c:pt idx="231">
                  <c:v>2968</c:v>
                </c:pt>
                <c:pt idx="232">
                  <c:v>2997</c:v>
                </c:pt>
                <c:pt idx="233">
                  <c:v>3029</c:v>
                </c:pt>
                <c:pt idx="234">
                  <c:v>3060</c:v>
                </c:pt>
                <c:pt idx="235">
                  <c:v>3087</c:v>
                </c:pt>
                <c:pt idx="236">
                  <c:v>3115</c:v>
                </c:pt>
                <c:pt idx="237">
                  <c:v>3143</c:v>
                </c:pt>
                <c:pt idx="238">
                  <c:v>3174</c:v>
                </c:pt>
                <c:pt idx="239">
                  <c:v>3206</c:v>
                </c:pt>
                <c:pt idx="240">
                  <c:v>3236</c:v>
                </c:pt>
                <c:pt idx="241">
                  <c:v>3266</c:v>
                </c:pt>
                <c:pt idx="242">
                  <c:v>3296</c:v>
                </c:pt>
                <c:pt idx="243">
                  <c:v>3327</c:v>
                </c:pt>
                <c:pt idx="244">
                  <c:v>3359</c:v>
                </c:pt>
                <c:pt idx="245">
                  <c:v>3392</c:v>
                </c:pt>
                <c:pt idx="246">
                  <c:v>3424</c:v>
                </c:pt>
                <c:pt idx="247">
                  <c:v>3456</c:v>
                </c:pt>
                <c:pt idx="248">
                  <c:v>3488</c:v>
                </c:pt>
                <c:pt idx="249">
                  <c:v>3521</c:v>
                </c:pt>
                <c:pt idx="250">
                  <c:v>3554</c:v>
                </c:pt>
                <c:pt idx="251">
                  <c:v>3588</c:v>
                </c:pt>
                <c:pt idx="252">
                  <c:v>3622</c:v>
                </c:pt>
                <c:pt idx="253">
                  <c:v>36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12C-425E-A01F-BB5EB831CF7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97</c:f>
              <c:numCache>
                <c:formatCode>m/d/yyyy</c:formatCode>
                <c:ptCount val="25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  <c:pt idx="249">
                  <c:v>44566</c:v>
                </c:pt>
                <c:pt idx="250">
                  <c:v>44567</c:v>
                </c:pt>
                <c:pt idx="251">
                  <c:v>44568</c:v>
                </c:pt>
                <c:pt idx="252">
                  <c:v>44569</c:v>
                </c:pt>
                <c:pt idx="253">
                  <c:v>44570</c:v>
                </c:pt>
              </c:numCache>
            </c:numRef>
          </c:cat>
          <c:val>
            <c:numRef>
              <c:f>Sheet1!$G$244:$G$497</c:f>
              <c:numCache>
                <c:formatCode>General</c:formatCode>
                <c:ptCount val="254"/>
                <c:pt idx="216">
                  <c:v>2667</c:v>
                </c:pt>
                <c:pt idx="217">
                  <c:v>2719</c:v>
                </c:pt>
                <c:pt idx="218">
                  <c:v>2736</c:v>
                </c:pt>
                <c:pt idx="219">
                  <c:v>2745</c:v>
                </c:pt>
                <c:pt idx="220">
                  <c:v>2793</c:v>
                </c:pt>
                <c:pt idx="221">
                  <c:v>2862</c:v>
                </c:pt>
                <c:pt idx="222">
                  <c:v>2931</c:v>
                </c:pt>
                <c:pt idx="223">
                  <c:v>2994</c:v>
                </c:pt>
                <c:pt idx="224">
                  <c:v>3031</c:v>
                </c:pt>
                <c:pt idx="225">
                  <c:v>3071</c:v>
                </c:pt>
                <c:pt idx="226">
                  <c:v>3125</c:v>
                </c:pt>
                <c:pt idx="227">
                  <c:v>3194</c:v>
                </c:pt>
                <c:pt idx="228">
                  <c:v>3260</c:v>
                </c:pt>
                <c:pt idx="229">
                  <c:v>3317</c:v>
                </c:pt>
                <c:pt idx="230">
                  <c:v>3371</c:v>
                </c:pt>
                <c:pt idx="231">
                  <c:v>3426</c:v>
                </c:pt>
                <c:pt idx="232">
                  <c:v>3489</c:v>
                </c:pt>
                <c:pt idx="233">
                  <c:v>3557</c:v>
                </c:pt>
                <c:pt idx="234">
                  <c:v>3624</c:v>
                </c:pt>
                <c:pt idx="235">
                  <c:v>3688</c:v>
                </c:pt>
                <c:pt idx="236">
                  <c:v>3751</c:v>
                </c:pt>
                <c:pt idx="237">
                  <c:v>3817</c:v>
                </c:pt>
                <c:pt idx="238">
                  <c:v>3886</c:v>
                </c:pt>
                <c:pt idx="239">
                  <c:v>3958</c:v>
                </c:pt>
                <c:pt idx="240">
                  <c:v>4030</c:v>
                </c:pt>
                <c:pt idx="241">
                  <c:v>4102</c:v>
                </c:pt>
                <c:pt idx="242">
                  <c:v>4174</c:v>
                </c:pt>
                <c:pt idx="243">
                  <c:v>4248</c:v>
                </c:pt>
                <c:pt idx="244">
                  <c:v>4325</c:v>
                </c:pt>
                <c:pt idx="245">
                  <c:v>4403</c:v>
                </c:pt>
                <c:pt idx="246">
                  <c:v>4483</c:v>
                </c:pt>
                <c:pt idx="247">
                  <c:v>4562</c:v>
                </c:pt>
                <c:pt idx="248">
                  <c:v>4643</c:v>
                </c:pt>
                <c:pt idx="249">
                  <c:v>4726</c:v>
                </c:pt>
                <c:pt idx="250">
                  <c:v>4811</c:v>
                </c:pt>
                <c:pt idx="251">
                  <c:v>4898</c:v>
                </c:pt>
                <c:pt idx="252">
                  <c:v>4985</c:v>
                </c:pt>
                <c:pt idx="253">
                  <c:v>50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12C-425E-A01F-BB5EB831CF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6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1408320959864159E-2"/>
          <c:y val="0.13849499407537877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B$397:$B$497</c:f>
              <c:numCache>
                <c:formatCode>0</c:formatCode>
                <c:ptCount val="101"/>
                <c:pt idx="0">
                  <c:v>140</c:v>
                </c:pt>
                <c:pt idx="1">
                  <c:v>112</c:v>
                </c:pt>
                <c:pt idx="2">
                  <c:v>66</c:v>
                </c:pt>
                <c:pt idx="3">
                  <c:v>134</c:v>
                </c:pt>
                <c:pt idx="4">
                  <c:v>176</c:v>
                </c:pt>
                <c:pt idx="5">
                  <c:v>137</c:v>
                </c:pt>
                <c:pt idx="6">
                  <c:v>157</c:v>
                </c:pt>
                <c:pt idx="7">
                  <c:v>183</c:v>
                </c:pt>
                <c:pt idx="8">
                  <c:v>128</c:v>
                </c:pt>
                <c:pt idx="9">
                  <c:v>67</c:v>
                </c:pt>
                <c:pt idx="10">
                  <c:v>214</c:v>
                </c:pt>
                <c:pt idx="11">
                  <c:v>181</c:v>
                </c:pt>
                <c:pt idx="12">
                  <c:v>226</c:v>
                </c:pt>
                <c:pt idx="13">
                  <c:v>203</c:v>
                </c:pt>
                <c:pt idx="14">
                  <c:v>224</c:v>
                </c:pt>
                <c:pt idx="15">
                  <c:v>196</c:v>
                </c:pt>
                <c:pt idx="16">
                  <c:v>151</c:v>
                </c:pt>
                <c:pt idx="17">
                  <c:v>373</c:v>
                </c:pt>
                <c:pt idx="18">
                  <c:v>409</c:v>
                </c:pt>
                <c:pt idx="19">
                  <c:v>500</c:v>
                </c:pt>
                <c:pt idx="20">
                  <c:v>557</c:v>
                </c:pt>
                <c:pt idx="21">
                  <c:v>546</c:v>
                </c:pt>
                <c:pt idx="22">
                  <c:v>505</c:v>
                </c:pt>
                <c:pt idx="23">
                  <c:v>320</c:v>
                </c:pt>
                <c:pt idx="24">
                  <c:v>595</c:v>
                </c:pt>
                <c:pt idx="25">
                  <c:v>937</c:v>
                </c:pt>
                <c:pt idx="26">
                  <c:v>849</c:v>
                </c:pt>
                <c:pt idx="27">
                  <c:v>697</c:v>
                </c:pt>
                <c:pt idx="28">
                  <c:v>732</c:v>
                </c:pt>
                <c:pt idx="29">
                  <c:v>673</c:v>
                </c:pt>
                <c:pt idx="30">
                  <c:v>411</c:v>
                </c:pt>
                <c:pt idx="31">
                  <c:v>880</c:v>
                </c:pt>
                <c:pt idx="32">
                  <c:v>1328</c:v>
                </c:pt>
                <c:pt idx="33">
                  <c:v>1059</c:v>
                </c:pt>
                <c:pt idx="34">
                  <c:v>985</c:v>
                </c:pt>
                <c:pt idx="35">
                  <c:v>884</c:v>
                </c:pt>
                <c:pt idx="36">
                  <c:v>853</c:v>
                </c:pt>
                <c:pt idx="37">
                  <c:v>468</c:v>
                </c:pt>
                <c:pt idx="38">
                  <c:v>1158</c:v>
                </c:pt>
                <c:pt idx="39">
                  <c:v>1720</c:v>
                </c:pt>
                <c:pt idx="40">
                  <c:v>1579</c:v>
                </c:pt>
                <c:pt idx="41">
                  <c:v>1179</c:v>
                </c:pt>
                <c:pt idx="42">
                  <c:v>1457</c:v>
                </c:pt>
                <c:pt idx="43">
                  <c:v>1333</c:v>
                </c:pt>
                <c:pt idx="44">
                  <c:v>848</c:v>
                </c:pt>
                <c:pt idx="45">
                  <c:v>1320</c:v>
                </c:pt>
                <c:pt idx="46">
                  <c:v>2719</c:v>
                </c:pt>
                <c:pt idx="47">
                  <c:v>1914</c:v>
                </c:pt>
                <c:pt idx="48">
                  <c:v>1429</c:v>
                </c:pt>
                <c:pt idx="49">
                  <c:v>2846</c:v>
                </c:pt>
                <c:pt idx="50">
                  <c:v>1870</c:v>
                </c:pt>
                <c:pt idx="51">
                  <c:v>1319</c:v>
                </c:pt>
                <c:pt idx="52">
                  <c:v>1711</c:v>
                </c:pt>
                <c:pt idx="53">
                  <c:v>2996</c:v>
                </c:pt>
                <c:pt idx="54">
                  <c:v>1693</c:v>
                </c:pt>
                <c:pt idx="55">
                  <c:v>3111</c:v>
                </c:pt>
                <c:pt idx="56">
                  <c:v>2041</c:v>
                </c:pt>
                <c:pt idx="57">
                  <c:v>1638</c:v>
                </c:pt>
                <c:pt idx="58">
                  <c:v>1515</c:v>
                </c:pt>
                <c:pt idx="59">
                  <c:v>2113</c:v>
                </c:pt>
                <c:pt idx="60">
                  <c:v>2173</c:v>
                </c:pt>
                <c:pt idx="61">
                  <c:v>2068</c:v>
                </c:pt>
                <c:pt idx="62">
                  <c:v>1859</c:v>
                </c:pt>
                <c:pt idx="63">
                  <c:v>1694</c:v>
                </c:pt>
                <c:pt idx="64">
                  <c:v>1321</c:v>
                </c:pt>
                <c:pt idx="65">
                  <c:v>952</c:v>
                </c:pt>
                <c:pt idx="66">
                  <c:v>1887</c:v>
                </c:pt>
                <c:pt idx="67">
                  <c:v>17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0F-4962-9CCB-3A06EAB110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C$397:$C$497</c:f>
              <c:numCache>
                <c:formatCode>General</c:formatCode>
                <c:ptCount val="10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00F-4962-9CCB-3A06EAB1105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D$397:$D$497</c:f>
              <c:numCache>
                <c:formatCode>General</c:formatCode>
                <c:ptCount val="101"/>
                <c:pt idx="63">
                  <c:v>2187</c:v>
                </c:pt>
                <c:pt idx="64">
                  <c:v>2125</c:v>
                </c:pt>
                <c:pt idx="65">
                  <c:v>2080</c:v>
                </c:pt>
                <c:pt idx="66">
                  <c:v>2053</c:v>
                </c:pt>
                <c:pt idx="67">
                  <c:v>2025</c:v>
                </c:pt>
                <c:pt idx="68">
                  <c:v>1997</c:v>
                </c:pt>
                <c:pt idx="69">
                  <c:v>1958</c:v>
                </c:pt>
                <c:pt idx="70">
                  <c:v>1911</c:v>
                </c:pt>
                <c:pt idx="71">
                  <c:v>1874</c:v>
                </c:pt>
                <c:pt idx="72">
                  <c:v>1845</c:v>
                </c:pt>
                <c:pt idx="73">
                  <c:v>1817</c:v>
                </c:pt>
                <c:pt idx="74">
                  <c:v>1785</c:v>
                </c:pt>
                <c:pt idx="75">
                  <c:v>1751</c:v>
                </c:pt>
                <c:pt idx="76">
                  <c:v>1716</c:v>
                </c:pt>
                <c:pt idx="77">
                  <c:v>1685</c:v>
                </c:pt>
                <c:pt idx="78">
                  <c:v>1656</c:v>
                </c:pt>
                <c:pt idx="79">
                  <c:v>1628</c:v>
                </c:pt>
                <c:pt idx="80">
                  <c:v>1599</c:v>
                </c:pt>
                <c:pt idx="81">
                  <c:v>1570</c:v>
                </c:pt>
                <c:pt idx="82">
                  <c:v>1541</c:v>
                </c:pt>
                <c:pt idx="83">
                  <c:v>1513</c:v>
                </c:pt>
                <c:pt idx="84">
                  <c:v>1487</c:v>
                </c:pt>
                <c:pt idx="85">
                  <c:v>1461</c:v>
                </c:pt>
                <c:pt idx="86">
                  <c:v>1435</c:v>
                </c:pt>
                <c:pt idx="87">
                  <c:v>1409</c:v>
                </c:pt>
                <c:pt idx="88">
                  <c:v>1384</c:v>
                </c:pt>
                <c:pt idx="89">
                  <c:v>1359</c:v>
                </c:pt>
                <c:pt idx="90">
                  <c:v>1335</c:v>
                </c:pt>
                <c:pt idx="91">
                  <c:v>1312</c:v>
                </c:pt>
                <c:pt idx="92">
                  <c:v>1289</c:v>
                </c:pt>
                <c:pt idx="93">
                  <c:v>1266</c:v>
                </c:pt>
                <c:pt idx="94">
                  <c:v>1244</c:v>
                </c:pt>
                <c:pt idx="95">
                  <c:v>1222</c:v>
                </c:pt>
                <c:pt idx="96">
                  <c:v>1200</c:v>
                </c:pt>
                <c:pt idx="97">
                  <c:v>1179</c:v>
                </c:pt>
                <c:pt idx="98">
                  <c:v>1159</c:v>
                </c:pt>
                <c:pt idx="99">
                  <c:v>1138</c:v>
                </c:pt>
                <c:pt idx="100">
                  <c:v>11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00F-4962-9CCB-3A06EAB1105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E$397:$E$497</c:f>
              <c:numCache>
                <c:formatCode>General</c:formatCode>
                <c:ptCount val="101"/>
                <c:pt idx="63">
                  <c:v>2236</c:v>
                </c:pt>
                <c:pt idx="64">
                  <c:v>2201</c:v>
                </c:pt>
                <c:pt idx="65">
                  <c:v>2171</c:v>
                </c:pt>
                <c:pt idx="66">
                  <c:v>2153</c:v>
                </c:pt>
                <c:pt idx="67">
                  <c:v>2141</c:v>
                </c:pt>
                <c:pt idx="68">
                  <c:v>2132</c:v>
                </c:pt>
                <c:pt idx="69">
                  <c:v>2115</c:v>
                </c:pt>
                <c:pt idx="70">
                  <c:v>2090</c:v>
                </c:pt>
                <c:pt idx="71">
                  <c:v>2067</c:v>
                </c:pt>
                <c:pt idx="72">
                  <c:v>2051</c:v>
                </c:pt>
                <c:pt idx="73">
                  <c:v>2038</c:v>
                </c:pt>
                <c:pt idx="74">
                  <c:v>2023</c:v>
                </c:pt>
                <c:pt idx="75">
                  <c:v>2005</c:v>
                </c:pt>
                <c:pt idx="76">
                  <c:v>1986</c:v>
                </c:pt>
                <c:pt idx="77">
                  <c:v>1968</c:v>
                </c:pt>
                <c:pt idx="78">
                  <c:v>1951</c:v>
                </c:pt>
                <c:pt idx="79">
                  <c:v>1937</c:v>
                </c:pt>
                <c:pt idx="80">
                  <c:v>1921</c:v>
                </c:pt>
                <c:pt idx="81">
                  <c:v>1905</c:v>
                </c:pt>
                <c:pt idx="82">
                  <c:v>1888</c:v>
                </c:pt>
                <c:pt idx="83">
                  <c:v>1871</c:v>
                </c:pt>
                <c:pt idx="84">
                  <c:v>1856</c:v>
                </c:pt>
                <c:pt idx="85">
                  <c:v>1841</c:v>
                </c:pt>
                <c:pt idx="86">
                  <c:v>1826</c:v>
                </c:pt>
                <c:pt idx="87">
                  <c:v>1810</c:v>
                </c:pt>
                <c:pt idx="88">
                  <c:v>1795</c:v>
                </c:pt>
                <c:pt idx="89">
                  <c:v>1780</c:v>
                </c:pt>
                <c:pt idx="90">
                  <c:v>1765</c:v>
                </c:pt>
                <c:pt idx="91">
                  <c:v>1750</c:v>
                </c:pt>
                <c:pt idx="92">
                  <c:v>1736</c:v>
                </c:pt>
                <c:pt idx="93">
                  <c:v>1721</c:v>
                </c:pt>
                <c:pt idx="94">
                  <c:v>1707</c:v>
                </c:pt>
                <c:pt idx="95">
                  <c:v>1693</c:v>
                </c:pt>
                <c:pt idx="96">
                  <c:v>1679</c:v>
                </c:pt>
                <c:pt idx="97">
                  <c:v>1665</c:v>
                </c:pt>
                <c:pt idx="98">
                  <c:v>1651</c:v>
                </c:pt>
                <c:pt idx="99">
                  <c:v>1638</c:v>
                </c:pt>
                <c:pt idx="100">
                  <c:v>16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00F-4962-9CCB-3A06EAB1105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F$397:$F$497</c:f>
              <c:numCache>
                <c:formatCode>General</c:formatCode>
                <c:ptCount val="101"/>
                <c:pt idx="63">
                  <c:v>2333</c:v>
                </c:pt>
                <c:pt idx="64">
                  <c:v>2353</c:v>
                </c:pt>
                <c:pt idx="65">
                  <c:v>2353</c:v>
                </c:pt>
                <c:pt idx="66">
                  <c:v>2352</c:v>
                </c:pt>
                <c:pt idx="67">
                  <c:v>2376</c:v>
                </c:pt>
                <c:pt idx="68">
                  <c:v>2412</c:v>
                </c:pt>
                <c:pt idx="69">
                  <c:v>2445</c:v>
                </c:pt>
                <c:pt idx="70">
                  <c:v>2472</c:v>
                </c:pt>
                <c:pt idx="71">
                  <c:v>2484</c:v>
                </c:pt>
                <c:pt idx="72">
                  <c:v>2500</c:v>
                </c:pt>
                <c:pt idx="73">
                  <c:v>2525</c:v>
                </c:pt>
                <c:pt idx="74">
                  <c:v>2556</c:v>
                </c:pt>
                <c:pt idx="75">
                  <c:v>2585</c:v>
                </c:pt>
                <c:pt idx="76">
                  <c:v>2608</c:v>
                </c:pt>
                <c:pt idx="77">
                  <c:v>2629</c:v>
                </c:pt>
                <c:pt idx="78">
                  <c:v>2651</c:v>
                </c:pt>
                <c:pt idx="79">
                  <c:v>2678</c:v>
                </c:pt>
                <c:pt idx="80">
                  <c:v>2706</c:v>
                </c:pt>
                <c:pt idx="81">
                  <c:v>2733</c:v>
                </c:pt>
                <c:pt idx="82">
                  <c:v>2758</c:v>
                </c:pt>
                <c:pt idx="83">
                  <c:v>2782</c:v>
                </c:pt>
                <c:pt idx="84">
                  <c:v>2808</c:v>
                </c:pt>
                <c:pt idx="85">
                  <c:v>2836</c:v>
                </c:pt>
                <c:pt idx="86">
                  <c:v>2864</c:v>
                </c:pt>
                <c:pt idx="87">
                  <c:v>2891</c:v>
                </c:pt>
                <c:pt idx="88">
                  <c:v>2918</c:v>
                </c:pt>
                <c:pt idx="89">
                  <c:v>2945</c:v>
                </c:pt>
                <c:pt idx="90">
                  <c:v>2973</c:v>
                </c:pt>
                <c:pt idx="91">
                  <c:v>3001</c:v>
                </c:pt>
                <c:pt idx="92">
                  <c:v>3030</c:v>
                </c:pt>
                <c:pt idx="93">
                  <c:v>3059</c:v>
                </c:pt>
                <c:pt idx="94">
                  <c:v>3087</c:v>
                </c:pt>
                <c:pt idx="95">
                  <c:v>3116</c:v>
                </c:pt>
                <c:pt idx="96">
                  <c:v>3145</c:v>
                </c:pt>
                <c:pt idx="97">
                  <c:v>3175</c:v>
                </c:pt>
                <c:pt idx="98">
                  <c:v>3205</c:v>
                </c:pt>
                <c:pt idx="99">
                  <c:v>3235</c:v>
                </c:pt>
                <c:pt idx="100">
                  <c:v>32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00F-4962-9CCB-3A06EAB1105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G$397:$G$497</c:f>
              <c:numCache>
                <c:formatCode>General</c:formatCode>
                <c:ptCount val="101"/>
                <c:pt idx="63">
                  <c:v>2382</c:v>
                </c:pt>
                <c:pt idx="64">
                  <c:v>2429</c:v>
                </c:pt>
                <c:pt idx="65">
                  <c:v>2444</c:v>
                </c:pt>
                <c:pt idx="66">
                  <c:v>2452</c:v>
                </c:pt>
                <c:pt idx="67">
                  <c:v>2495</c:v>
                </c:pt>
                <c:pt idx="68">
                  <c:v>2557</c:v>
                </c:pt>
                <c:pt idx="69">
                  <c:v>2618</c:v>
                </c:pt>
                <c:pt idx="70">
                  <c:v>2675</c:v>
                </c:pt>
                <c:pt idx="71">
                  <c:v>2707</c:v>
                </c:pt>
                <c:pt idx="72">
                  <c:v>2744</c:v>
                </c:pt>
                <c:pt idx="73">
                  <c:v>2792</c:v>
                </c:pt>
                <c:pt idx="74">
                  <c:v>2854</c:v>
                </c:pt>
                <c:pt idx="75">
                  <c:v>2912</c:v>
                </c:pt>
                <c:pt idx="76">
                  <c:v>2963</c:v>
                </c:pt>
                <c:pt idx="77">
                  <c:v>3011</c:v>
                </c:pt>
                <c:pt idx="78">
                  <c:v>3060</c:v>
                </c:pt>
                <c:pt idx="79">
                  <c:v>3117</c:v>
                </c:pt>
                <c:pt idx="80">
                  <c:v>3177</c:v>
                </c:pt>
                <c:pt idx="81">
                  <c:v>3238</c:v>
                </c:pt>
                <c:pt idx="82">
                  <c:v>3294</c:v>
                </c:pt>
                <c:pt idx="83">
                  <c:v>3351</c:v>
                </c:pt>
                <c:pt idx="84">
                  <c:v>3410</c:v>
                </c:pt>
                <c:pt idx="85">
                  <c:v>3472</c:v>
                </c:pt>
                <c:pt idx="86">
                  <c:v>3536</c:v>
                </c:pt>
                <c:pt idx="87">
                  <c:v>3600</c:v>
                </c:pt>
                <c:pt idx="88">
                  <c:v>3664</c:v>
                </c:pt>
                <c:pt idx="89">
                  <c:v>3729</c:v>
                </c:pt>
                <c:pt idx="90">
                  <c:v>3795</c:v>
                </c:pt>
                <c:pt idx="91">
                  <c:v>3864</c:v>
                </c:pt>
                <c:pt idx="92">
                  <c:v>3934</c:v>
                </c:pt>
                <c:pt idx="93">
                  <c:v>4005</c:v>
                </c:pt>
                <c:pt idx="94">
                  <c:v>4076</c:v>
                </c:pt>
                <c:pt idx="95">
                  <c:v>4148</c:v>
                </c:pt>
                <c:pt idx="96">
                  <c:v>4222</c:v>
                </c:pt>
                <c:pt idx="97">
                  <c:v>4298</c:v>
                </c:pt>
                <c:pt idx="98">
                  <c:v>4375</c:v>
                </c:pt>
                <c:pt idx="99">
                  <c:v>4454</c:v>
                </c:pt>
                <c:pt idx="100">
                  <c:v>45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00F-4962-9CCB-3A06EAB110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H$122:$H$344</c:f>
              <c:numCache>
                <c:formatCode>0</c:formatCode>
                <c:ptCount val="22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  <c:pt idx="188" formatCode="General">
                  <c:v>100</c:v>
                </c:pt>
                <c:pt idx="189" formatCode="General">
                  <c:v>100</c:v>
                </c:pt>
                <c:pt idx="190" formatCode="General">
                  <c:v>100</c:v>
                </c:pt>
                <c:pt idx="191" formatCode="General">
                  <c:v>100</c:v>
                </c:pt>
                <c:pt idx="192" formatCode="General">
                  <c:v>100</c:v>
                </c:pt>
                <c:pt idx="193" formatCode="General">
                  <c:v>100</c:v>
                </c:pt>
                <c:pt idx="194" formatCode="General">
                  <c:v>100</c:v>
                </c:pt>
                <c:pt idx="195" formatCode="General">
                  <c:v>100</c:v>
                </c:pt>
                <c:pt idx="196" formatCode="General">
                  <c:v>100</c:v>
                </c:pt>
                <c:pt idx="197" formatCode="General">
                  <c:v>100</c:v>
                </c:pt>
                <c:pt idx="198" formatCode="General">
                  <c:v>100</c:v>
                </c:pt>
                <c:pt idx="199" formatCode="General">
                  <c:v>100</c:v>
                </c:pt>
                <c:pt idx="200" formatCode="General">
                  <c:v>100</c:v>
                </c:pt>
                <c:pt idx="201" formatCode="General">
                  <c:v>100</c:v>
                </c:pt>
                <c:pt idx="202" formatCode="General">
                  <c:v>100</c:v>
                </c:pt>
                <c:pt idx="203" formatCode="General">
                  <c:v>100</c:v>
                </c:pt>
                <c:pt idx="204" formatCode="General">
                  <c:v>100</c:v>
                </c:pt>
                <c:pt idx="205" formatCode="General">
                  <c:v>100</c:v>
                </c:pt>
                <c:pt idx="206" formatCode="General">
                  <c:v>100</c:v>
                </c:pt>
                <c:pt idx="207" formatCode="General">
                  <c:v>100</c:v>
                </c:pt>
                <c:pt idx="208" formatCode="General">
                  <c:v>100</c:v>
                </c:pt>
                <c:pt idx="209" formatCode="General">
                  <c:v>100</c:v>
                </c:pt>
                <c:pt idx="210" formatCode="General">
                  <c:v>100</c:v>
                </c:pt>
                <c:pt idx="211" formatCode="General">
                  <c:v>100</c:v>
                </c:pt>
                <c:pt idx="212" formatCode="General">
                  <c:v>100</c:v>
                </c:pt>
                <c:pt idx="213" formatCode="General">
                  <c:v>100</c:v>
                </c:pt>
                <c:pt idx="214" formatCode="General">
                  <c:v>100</c:v>
                </c:pt>
                <c:pt idx="215" formatCode="General">
                  <c:v>100</c:v>
                </c:pt>
                <c:pt idx="216" formatCode="General">
                  <c:v>100</c:v>
                </c:pt>
                <c:pt idx="217" formatCode="General">
                  <c:v>100</c:v>
                </c:pt>
                <c:pt idx="218" formatCode="General">
                  <c:v>100</c:v>
                </c:pt>
                <c:pt idx="219" formatCode="General">
                  <c:v>100</c:v>
                </c:pt>
                <c:pt idx="220" formatCode="General">
                  <c:v>100</c:v>
                </c:pt>
                <c:pt idx="221" formatCode="General">
                  <c:v>100</c:v>
                </c:pt>
                <c:pt idx="222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F8-40A4-B203-95E23E79D55C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I$122:$I$344</c:f>
              <c:numCache>
                <c:formatCode>0</c:formatCode>
                <c:ptCount val="22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  <c:pt idx="188" formatCode="General">
                  <c:v>50</c:v>
                </c:pt>
                <c:pt idx="189" formatCode="General">
                  <c:v>50</c:v>
                </c:pt>
                <c:pt idx="190" formatCode="General">
                  <c:v>50</c:v>
                </c:pt>
                <c:pt idx="191" formatCode="General">
                  <c:v>50</c:v>
                </c:pt>
                <c:pt idx="192" formatCode="General">
                  <c:v>50</c:v>
                </c:pt>
                <c:pt idx="193" formatCode="General">
                  <c:v>50</c:v>
                </c:pt>
                <c:pt idx="194" formatCode="General">
                  <c:v>50</c:v>
                </c:pt>
                <c:pt idx="195" formatCode="General">
                  <c:v>50</c:v>
                </c:pt>
                <c:pt idx="196" formatCode="General">
                  <c:v>50</c:v>
                </c:pt>
                <c:pt idx="197" formatCode="General">
                  <c:v>50</c:v>
                </c:pt>
                <c:pt idx="198" formatCode="General">
                  <c:v>50</c:v>
                </c:pt>
                <c:pt idx="199" formatCode="General">
                  <c:v>50</c:v>
                </c:pt>
                <c:pt idx="200" formatCode="General">
                  <c:v>50</c:v>
                </c:pt>
                <c:pt idx="201" formatCode="General">
                  <c:v>50</c:v>
                </c:pt>
                <c:pt idx="202" formatCode="General">
                  <c:v>50</c:v>
                </c:pt>
                <c:pt idx="203" formatCode="General">
                  <c:v>50</c:v>
                </c:pt>
                <c:pt idx="204" formatCode="General">
                  <c:v>50</c:v>
                </c:pt>
                <c:pt idx="205" formatCode="General">
                  <c:v>50</c:v>
                </c:pt>
                <c:pt idx="206" formatCode="General">
                  <c:v>50</c:v>
                </c:pt>
                <c:pt idx="207" formatCode="General">
                  <c:v>50</c:v>
                </c:pt>
                <c:pt idx="208" formatCode="General">
                  <c:v>50</c:v>
                </c:pt>
                <c:pt idx="209" formatCode="General">
                  <c:v>50</c:v>
                </c:pt>
                <c:pt idx="210" formatCode="General">
                  <c:v>50</c:v>
                </c:pt>
                <c:pt idx="211" formatCode="General">
                  <c:v>50</c:v>
                </c:pt>
                <c:pt idx="212" formatCode="General">
                  <c:v>50</c:v>
                </c:pt>
                <c:pt idx="213" formatCode="General">
                  <c:v>50</c:v>
                </c:pt>
                <c:pt idx="214" formatCode="General">
                  <c:v>50</c:v>
                </c:pt>
                <c:pt idx="215" formatCode="General">
                  <c:v>50</c:v>
                </c:pt>
                <c:pt idx="216" formatCode="General">
                  <c:v>50</c:v>
                </c:pt>
                <c:pt idx="217" formatCode="General">
                  <c:v>50</c:v>
                </c:pt>
                <c:pt idx="218" formatCode="General">
                  <c:v>50</c:v>
                </c:pt>
                <c:pt idx="219" formatCode="General">
                  <c:v>50</c:v>
                </c:pt>
                <c:pt idx="220" formatCode="General">
                  <c:v>50</c:v>
                </c:pt>
                <c:pt idx="221" formatCode="General">
                  <c:v>50</c:v>
                </c:pt>
                <c:pt idx="222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F8-40A4-B203-95E23E79D5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B$122:$B$344</c:f>
              <c:numCache>
                <c:formatCode>0</c:formatCode>
                <c:ptCount val="223"/>
                <c:pt idx="0">
                  <c:v>34.036588494291749</c:v>
                </c:pt>
                <c:pt idx="1">
                  <c:v>31.353901716416534</c:v>
                </c:pt>
                <c:pt idx="2">
                  <c:v>29.006550785775726</c:v>
                </c:pt>
                <c:pt idx="3">
                  <c:v>28.252045129498324</c:v>
                </c:pt>
                <c:pt idx="4">
                  <c:v>27.91670928226392</c:v>
                </c:pt>
                <c:pt idx="5">
                  <c:v>26.910701740560715</c:v>
                </c:pt>
                <c:pt idx="6">
                  <c:v>25.06635458077151</c:v>
                </c:pt>
                <c:pt idx="7">
                  <c:v>21.461494223001694</c:v>
                </c:pt>
                <c:pt idx="8">
                  <c:v>20.371652719489887</c:v>
                </c:pt>
                <c:pt idx="9">
                  <c:v>17.437464056188876</c:v>
                </c:pt>
                <c:pt idx="10">
                  <c:v>15.257781049165265</c:v>
                </c:pt>
                <c:pt idx="11">
                  <c:v>15.090113125548065</c:v>
                </c:pt>
                <c:pt idx="12">
                  <c:v>14.838611240122264</c:v>
                </c:pt>
                <c:pt idx="13">
                  <c:v>12.323592385864252</c:v>
                </c:pt>
                <c:pt idx="14">
                  <c:v>11.401418805969648</c:v>
                </c:pt>
                <c:pt idx="15">
                  <c:v>9.5570716461804395</c:v>
                </c:pt>
                <c:pt idx="16">
                  <c:v>10.143909378840643</c:v>
                </c:pt>
                <c:pt idx="17">
                  <c:v>9.9762414552234429</c:v>
                </c:pt>
                <c:pt idx="18">
                  <c:v>8.9702339135202394</c:v>
                </c:pt>
                <c:pt idx="19">
                  <c:v>8.8863999517116383</c:v>
                </c:pt>
                <c:pt idx="20">
                  <c:v>8.9702339135202394</c:v>
                </c:pt>
                <c:pt idx="21">
                  <c:v>8.2157282572428354</c:v>
                </c:pt>
                <c:pt idx="22">
                  <c:v>8.3833961808600357</c:v>
                </c:pt>
                <c:pt idx="23">
                  <c:v>6.7905509064966294</c:v>
                </c:pt>
                <c:pt idx="24">
                  <c:v>6.7905509064966294</c:v>
                </c:pt>
                <c:pt idx="25">
                  <c:v>6.8743848683052287</c:v>
                </c:pt>
                <c:pt idx="26">
                  <c:v>6.7905509064966294</c:v>
                </c:pt>
                <c:pt idx="27">
                  <c:v>6.7067169446880284</c:v>
                </c:pt>
                <c:pt idx="28">
                  <c:v>6.9582188301138297</c:v>
                </c:pt>
                <c:pt idx="29">
                  <c:v>6.6228829828794282</c:v>
                </c:pt>
                <c:pt idx="30">
                  <c:v>7.293554677348232</c:v>
                </c:pt>
                <c:pt idx="31">
                  <c:v>7.293554677348232</c:v>
                </c:pt>
                <c:pt idx="32">
                  <c:v>7.880392410008433</c:v>
                </c:pt>
                <c:pt idx="33">
                  <c:v>7.4612226009654323</c:v>
                </c:pt>
                <c:pt idx="34">
                  <c:v>6.7905509064966294</c:v>
                </c:pt>
                <c:pt idx="35">
                  <c:v>5.6168754411762238</c:v>
                </c:pt>
                <c:pt idx="36">
                  <c:v>6.3713810974536269</c:v>
                </c:pt>
                <c:pt idx="37">
                  <c:v>5.9522112884106253</c:v>
                </c:pt>
                <c:pt idx="38">
                  <c:v>6.6228829828794282</c:v>
                </c:pt>
                <c:pt idx="39">
                  <c:v>6.3713810974536269</c:v>
                </c:pt>
                <c:pt idx="40">
                  <c:v>7.12588675373103</c:v>
                </c:pt>
                <c:pt idx="41">
                  <c:v>7.880392410008433</c:v>
                </c:pt>
                <c:pt idx="42">
                  <c:v>9.8085735316062408</c:v>
                </c:pt>
                <c:pt idx="43">
                  <c:v>8.634898066285837</c:v>
                </c:pt>
                <c:pt idx="44">
                  <c:v>8.1318942954342344</c:v>
                </c:pt>
                <c:pt idx="45">
                  <c:v>7.7127244863912328</c:v>
                </c:pt>
                <c:pt idx="46">
                  <c:v>7.7127244863912328</c:v>
                </c:pt>
                <c:pt idx="47">
                  <c:v>7.6288905245826326</c:v>
                </c:pt>
                <c:pt idx="48">
                  <c:v>7.5450565627740325</c:v>
                </c:pt>
                <c:pt idx="49">
                  <c:v>6.7905509064966294</c:v>
                </c:pt>
                <c:pt idx="50">
                  <c:v>7.6288905245826326</c:v>
                </c:pt>
                <c:pt idx="51">
                  <c:v>8.2157282572428354</c:v>
                </c:pt>
                <c:pt idx="52">
                  <c:v>7.5450565627740325</c:v>
                </c:pt>
                <c:pt idx="53">
                  <c:v>7.0420527919224307</c:v>
                </c:pt>
                <c:pt idx="54">
                  <c:v>6.7067169446880284</c:v>
                </c:pt>
                <c:pt idx="55">
                  <c:v>6.0360452502192254</c:v>
                </c:pt>
                <c:pt idx="56">
                  <c:v>5.4492075175590236</c:v>
                </c:pt>
                <c:pt idx="57">
                  <c:v>4.6947018612816196</c:v>
                </c:pt>
                <c:pt idx="58">
                  <c:v>4.4431999758558192</c:v>
                </c:pt>
                <c:pt idx="59">
                  <c:v>4.359366014047219</c:v>
                </c:pt>
                <c:pt idx="60">
                  <c:v>4.6947018612816196</c:v>
                </c:pt>
                <c:pt idx="61">
                  <c:v>4.359366014047219</c:v>
                </c:pt>
                <c:pt idx="62">
                  <c:v>4.1078641286214177</c:v>
                </c:pt>
                <c:pt idx="63">
                  <c:v>4.359366014047219</c:v>
                </c:pt>
                <c:pt idx="64">
                  <c:v>4.8623697848988208</c:v>
                </c:pt>
                <c:pt idx="65">
                  <c:v>4.9462037467074209</c:v>
                </c:pt>
                <c:pt idx="66">
                  <c:v>4.8623697848988208</c:v>
                </c:pt>
                <c:pt idx="67">
                  <c:v>4.9462037467074209</c:v>
                </c:pt>
                <c:pt idx="68">
                  <c:v>5.1977056321332222</c:v>
                </c:pt>
                <c:pt idx="69">
                  <c:v>5.8683773266020252</c:v>
                </c:pt>
                <c:pt idx="70">
                  <c:v>6.4552150592622279</c:v>
                </c:pt>
                <c:pt idx="71">
                  <c:v>6.7067169446880284</c:v>
                </c:pt>
                <c:pt idx="72">
                  <c:v>6.9582188301138297</c:v>
                </c:pt>
                <c:pt idx="73">
                  <c:v>6.7905509064966294</c:v>
                </c:pt>
                <c:pt idx="74">
                  <c:v>7.0420527919224307</c:v>
                </c:pt>
                <c:pt idx="75">
                  <c:v>7.293554677348232</c:v>
                </c:pt>
                <c:pt idx="76">
                  <c:v>7.293554677348232</c:v>
                </c:pt>
                <c:pt idx="77">
                  <c:v>7.4612226009654323</c:v>
                </c:pt>
                <c:pt idx="78">
                  <c:v>7.293554677348232</c:v>
                </c:pt>
                <c:pt idx="79">
                  <c:v>7.7965584481998338</c:v>
                </c:pt>
                <c:pt idx="80">
                  <c:v>7.7965584481998338</c:v>
                </c:pt>
                <c:pt idx="81">
                  <c:v>7.293554677348232</c:v>
                </c:pt>
                <c:pt idx="82">
                  <c:v>7.209720715539631</c:v>
                </c:pt>
                <c:pt idx="83">
                  <c:v>7.12588675373103</c:v>
                </c:pt>
                <c:pt idx="84">
                  <c:v>6.2037131738364266</c:v>
                </c:pt>
                <c:pt idx="85">
                  <c:v>6.8743848683052287</c:v>
                </c:pt>
                <c:pt idx="86">
                  <c:v>6.2875471356450277</c:v>
                </c:pt>
                <c:pt idx="87">
                  <c:v>6.8743848683052287</c:v>
                </c:pt>
                <c:pt idx="88">
                  <c:v>7.0420527919224307</c:v>
                </c:pt>
                <c:pt idx="89">
                  <c:v>7.0420527919224307</c:v>
                </c:pt>
                <c:pt idx="90">
                  <c:v>7.7965584481998338</c:v>
                </c:pt>
                <c:pt idx="91">
                  <c:v>9.1379018371374396</c:v>
                </c:pt>
                <c:pt idx="92">
                  <c:v>8.3833961808600357</c:v>
                </c:pt>
                <c:pt idx="93">
                  <c:v>9.3055697607546399</c:v>
                </c:pt>
                <c:pt idx="94">
                  <c:v>11.82058861501265</c:v>
                </c:pt>
                <c:pt idx="95">
                  <c:v>12.323592385864252</c:v>
                </c:pt>
                <c:pt idx="96">
                  <c:v>12.575094271290055</c:v>
                </c:pt>
                <c:pt idx="97">
                  <c:v>13.916437660227659</c:v>
                </c:pt>
                <c:pt idx="98">
                  <c:v>16.599124438102873</c:v>
                </c:pt>
                <c:pt idx="99">
                  <c:v>19.784814986829684</c:v>
                </c:pt>
                <c:pt idx="100">
                  <c:v>22.551335726513496</c:v>
                </c:pt>
                <c:pt idx="101">
                  <c:v>23.557343268216698</c:v>
                </c:pt>
                <c:pt idx="102">
                  <c:v>25.737026275240311</c:v>
                </c:pt>
                <c:pt idx="103">
                  <c:v>26.491531931517713</c:v>
                </c:pt>
                <c:pt idx="104">
                  <c:v>29.844890403861729</c:v>
                </c:pt>
                <c:pt idx="105">
                  <c:v>31.773071525459535</c:v>
                </c:pt>
                <c:pt idx="106">
                  <c:v>34.539592265143348</c:v>
                </c:pt>
                <c:pt idx="107">
                  <c:v>35.461765845037952</c:v>
                </c:pt>
                <c:pt idx="108">
                  <c:v>38.228286584721758</c:v>
                </c:pt>
                <c:pt idx="109">
                  <c:v>37.80911677567876</c:v>
                </c:pt>
                <c:pt idx="110">
                  <c:v>39.485796011850766</c:v>
                </c:pt>
                <c:pt idx="111">
                  <c:v>41.078641286214179</c:v>
                </c:pt>
                <c:pt idx="112">
                  <c:v>43.090656369620589</c:v>
                </c:pt>
                <c:pt idx="113">
                  <c:v>43.928995987706593</c:v>
                </c:pt>
                <c:pt idx="114">
                  <c:v>46.611682765581797</c:v>
                </c:pt>
                <c:pt idx="115">
                  <c:v>47.366188421859199</c:v>
                </c:pt>
                <c:pt idx="116">
                  <c:v>48.79136577260541</c:v>
                </c:pt>
                <c:pt idx="117">
                  <c:v>48.204528039945203</c:v>
                </c:pt>
                <c:pt idx="118">
                  <c:v>50.551878970586024</c:v>
                </c:pt>
                <c:pt idx="119">
                  <c:v>47.114686536433396</c:v>
                </c:pt>
                <c:pt idx="120">
                  <c:v>47.198520498241997</c:v>
                </c:pt>
                <c:pt idx="121">
                  <c:v>51.977056321332228</c:v>
                </c:pt>
                <c:pt idx="122">
                  <c:v>54.659743099207432</c:v>
                </c:pt>
                <c:pt idx="123">
                  <c:v>57.510097800699846</c:v>
                </c:pt>
                <c:pt idx="124">
                  <c:v>60.36045250219226</c:v>
                </c:pt>
                <c:pt idx="125">
                  <c:v>60.276618540383659</c:v>
                </c:pt>
                <c:pt idx="126">
                  <c:v>73.522384506142515</c:v>
                </c:pt>
                <c:pt idx="127">
                  <c:v>82.408784457854154</c:v>
                </c:pt>
                <c:pt idx="128">
                  <c:v>83.833961808600364</c:v>
                </c:pt>
                <c:pt idx="129">
                  <c:v>90.456844791479782</c:v>
                </c:pt>
                <c:pt idx="130">
                  <c:v>94.816210805527007</c:v>
                </c:pt>
                <c:pt idx="131">
                  <c:v>95.570716461804409</c:v>
                </c:pt>
                <c:pt idx="132">
                  <c:v>105.37928999341064</c:v>
                </c:pt>
                <c:pt idx="133">
                  <c:v>110.74466354916107</c:v>
                </c:pt>
                <c:pt idx="134">
                  <c:v>116.6130408757631</c:v>
                </c:pt>
                <c:pt idx="135">
                  <c:v>123.31975782045113</c:v>
                </c:pt>
                <c:pt idx="136">
                  <c:v>136.146353977167</c:v>
                </c:pt>
                <c:pt idx="137">
                  <c:v>140.9248898002572</c:v>
                </c:pt>
                <c:pt idx="138">
                  <c:v>149.97895767558603</c:v>
                </c:pt>
                <c:pt idx="139">
                  <c:v>171.85962170763074</c:v>
                </c:pt>
                <c:pt idx="140">
                  <c:v>196.42297251755065</c:v>
                </c:pt>
                <c:pt idx="141">
                  <c:v>223.50134218172857</c:v>
                </c:pt>
                <c:pt idx="142">
                  <c:v>248.48386280069147</c:v>
                </c:pt>
                <c:pt idx="143">
                  <c:v>274.64005888497474</c:v>
                </c:pt>
                <c:pt idx="144">
                  <c:v>296.85605876425387</c:v>
                </c:pt>
                <c:pt idx="145">
                  <c:v>309.51498699735254</c:v>
                </c:pt>
                <c:pt idx="146">
                  <c:v>326.95245105354138</c:v>
                </c:pt>
                <c:pt idx="147">
                  <c:v>355.87516787750855</c:v>
                </c:pt>
                <c:pt idx="148">
                  <c:v>380.52235264923706</c:v>
                </c:pt>
                <c:pt idx="149">
                  <c:v>391.75610353158953</c:v>
                </c:pt>
                <c:pt idx="150">
                  <c:v>412.29542417469662</c:v>
                </c:pt>
                <c:pt idx="151">
                  <c:v>433.00241274142087</c:v>
                </c:pt>
                <c:pt idx="152">
                  <c:v>446.58351455441414</c:v>
                </c:pt>
                <c:pt idx="153">
                  <c:v>491.60235204563253</c:v>
                </c:pt>
                <c:pt idx="154">
                  <c:v>533.1839971026983</c:v>
                </c:pt>
                <c:pt idx="155">
                  <c:v>591.11326471244104</c:v>
                </c:pt>
                <c:pt idx="156">
                  <c:v>642.08431349207012</c:v>
                </c:pt>
                <c:pt idx="157">
                  <c:v>680.14493215317464</c:v>
                </c:pt>
                <c:pt idx="158">
                  <c:v>681.31860761849509</c:v>
                </c:pt>
                <c:pt idx="159">
                  <c:v>673.18671332306087</c:v>
                </c:pt>
                <c:pt idx="160">
                  <c:v>676.87540764263929</c:v>
                </c:pt>
                <c:pt idx="161">
                  <c:v>729.02013188758872</c:v>
                </c:pt>
                <c:pt idx="162">
                  <c:v>760.29019964219663</c:v>
                </c:pt>
                <c:pt idx="163">
                  <c:v>763.05672038188038</c:v>
                </c:pt>
                <c:pt idx="164">
                  <c:v>841.44147467292191</c:v>
                </c:pt>
                <c:pt idx="165">
                  <c:v>861.98079531602889</c:v>
                </c:pt>
                <c:pt idx="166">
                  <c:v>892.74785929978509</c:v>
                </c:pt>
                <c:pt idx="167">
                  <c:v>915.96986672076753</c:v>
                </c:pt>
                <c:pt idx="168">
                  <c:v>968.61759473656855</c:v>
                </c:pt>
                <c:pt idx="169">
                  <c:v>973.47996452146742</c:v>
                </c:pt>
                <c:pt idx="170">
                  <c:v>997.54031156053554</c:v>
                </c:pt>
                <c:pt idx="171">
                  <c:v>1047.5891867602702</c:v>
                </c:pt>
                <c:pt idx="172">
                  <c:v>1122.704416540776</c:v>
                </c:pt>
                <c:pt idx="173">
                  <c:v>1169.9867710008266</c:v>
                </c:pt>
                <c:pt idx="174">
                  <c:v>1196.2268010469184</c:v>
                </c:pt>
                <c:pt idx="175">
                  <c:v>1228.3352084196124</c:v>
                </c:pt>
                <c:pt idx="176">
                  <c:v>1260.1921139068806</c:v>
                </c:pt>
                <c:pt idx="177">
                  <c:v>1463.6571392163537</c:v>
                </c:pt>
                <c:pt idx="178">
                  <c:v>1418.5544677633268</c:v>
                </c:pt>
                <c:pt idx="179">
                  <c:v>1418.8898036105611</c:v>
                </c:pt>
                <c:pt idx="180">
                  <c:v>1409.919569697041</c:v>
                </c:pt>
                <c:pt idx="181">
                  <c:v>1441.9441431079263</c:v>
                </c:pt>
                <c:pt idx="182">
                  <c:v>1376.3859849736007</c:v>
                </c:pt>
                <c:pt idx="183">
                  <c:v>1418.3029658779008</c:v>
                </c:pt>
                <c:pt idx="184">
                  <c:v>1257.9285969380483</c:v>
                </c:pt>
                <c:pt idx="185">
                  <c:v>1226.155525412589</c:v>
                </c:pt>
                <c:pt idx="186">
                  <c:v>1193.5441142690433</c:v>
                </c:pt>
                <c:pt idx="187">
                  <c:v>1166.3819106430567</c:v>
                </c:pt>
                <c:pt idx="188">
                  <c:v>1119.8540618392835</c:v>
                </c:pt>
                <c:pt idx="189">
                  <c:v>1140.98022021505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0F8-40A4-B203-95E23E79D5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C$122:$C$344</c:f>
              <c:numCache>
                <c:formatCode>General</c:formatCode>
                <c:ptCount val="22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0F8-40A4-B203-95E23E79D55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D$122:$D$344</c:f>
              <c:numCache>
                <c:formatCode>General</c:formatCode>
                <c:ptCount val="223"/>
                <c:pt idx="185" formatCode="0">
                  <c:v>1292.1328533559572</c:v>
                </c:pt>
                <c:pt idx="186" formatCode="0">
                  <c:v>1275.9528987268975</c:v>
                </c:pt>
                <c:pt idx="187" formatCode="0">
                  <c:v>1257.2579252435796</c:v>
                </c:pt>
                <c:pt idx="188">
                  <c:v>1239.1497894929219</c:v>
                </c:pt>
                <c:pt idx="189">
                  <c:v>1222.4668310930103</c:v>
                </c:pt>
                <c:pt idx="190">
                  <c:v>1202.849684029798</c:v>
                </c:pt>
                <c:pt idx="191">
                  <c:v>1178.6216690671124</c:v>
                </c:pt>
                <c:pt idx="192">
                  <c:v>1156.1541673024076</c:v>
                </c:pt>
                <c:pt idx="193">
                  <c:v>1135.6148466593004</c:v>
                </c:pt>
                <c:pt idx="194">
                  <c:v>1116.4168694051309</c:v>
                </c:pt>
                <c:pt idx="195">
                  <c:v>1097.1350581891529</c:v>
                </c:pt>
                <c:pt idx="196">
                  <c:v>1077.4340771641318</c:v>
                </c:pt>
                <c:pt idx="197">
                  <c:v>1057.3139263300677</c:v>
                </c:pt>
                <c:pt idx="198">
                  <c:v>1037.5291113432379</c:v>
                </c:pt>
                <c:pt idx="199">
                  <c:v>1019.0018057835374</c:v>
                </c:pt>
                <c:pt idx="200">
                  <c:v>1001.2290058801141</c:v>
                </c:pt>
                <c:pt idx="201">
                  <c:v>983.54003993849949</c:v>
                </c:pt>
                <c:pt idx="202">
                  <c:v>965.76724003507616</c:v>
                </c:pt>
                <c:pt idx="203">
                  <c:v>948.24594201707862</c:v>
                </c:pt>
                <c:pt idx="204">
                  <c:v>931.05997984631563</c:v>
                </c:pt>
                <c:pt idx="205">
                  <c:v>914.46085540821275</c:v>
                </c:pt>
                <c:pt idx="206">
                  <c:v>898.28090077915294</c:v>
                </c:pt>
                <c:pt idx="207">
                  <c:v>882.35244803551871</c:v>
                </c:pt>
                <c:pt idx="208">
                  <c:v>866.59166321550185</c:v>
                </c:pt>
                <c:pt idx="209">
                  <c:v>850.99854631910227</c:v>
                </c:pt>
                <c:pt idx="210">
                  <c:v>835.82459923174554</c:v>
                </c:pt>
                <c:pt idx="211">
                  <c:v>821.06982195343187</c:v>
                </c:pt>
                <c:pt idx="212">
                  <c:v>806.56654656054411</c:v>
                </c:pt>
                <c:pt idx="213">
                  <c:v>792.31477305308204</c:v>
                </c:pt>
                <c:pt idx="214">
                  <c:v>778.23066746923712</c:v>
                </c:pt>
                <c:pt idx="215">
                  <c:v>764.398063770818</c:v>
                </c:pt>
                <c:pt idx="216">
                  <c:v>750.90079591963342</c:v>
                </c:pt>
                <c:pt idx="217">
                  <c:v>737.65502995387453</c:v>
                </c:pt>
                <c:pt idx="218">
                  <c:v>724.66076587354144</c:v>
                </c:pt>
                <c:pt idx="219">
                  <c:v>711.91800367863425</c:v>
                </c:pt>
                <c:pt idx="220">
                  <c:v>699.34290940734411</c:v>
                </c:pt>
                <c:pt idx="221">
                  <c:v>687.10315098328851</c:v>
                </c:pt>
                <c:pt idx="222">
                  <c:v>675.031060482850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0F8-40A4-B203-95E23E79D55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E$122:$E$344</c:f>
              <c:numCache>
                <c:formatCode>General</c:formatCode>
                <c:ptCount val="223"/>
                <c:pt idx="185" formatCode="0">
                  <c:v>1296.1568835227702</c:v>
                </c:pt>
                <c:pt idx="186" formatCode="0">
                  <c:v>1286.1806420675466</c:v>
                </c:pt>
                <c:pt idx="187" formatCode="0">
                  <c:v>1274.9468911851943</c:v>
                </c:pt>
                <c:pt idx="188">
                  <c:v>1265.0544836917793</c:v>
                </c:pt>
                <c:pt idx="189">
                  <c:v>1257.7609290144312</c:v>
                </c:pt>
                <c:pt idx="190">
                  <c:v>1249.2098649099539</c:v>
                </c:pt>
                <c:pt idx="191">
                  <c:v>1237.8084461039844</c:v>
                </c:pt>
                <c:pt idx="192">
                  <c:v>1225.9040235271632</c:v>
                </c:pt>
                <c:pt idx="193">
                  <c:v>1215.005608492045</c:v>
                </c:pt>
                <c:pt idx="194">
                  <c:v>1205.1970349604387</c:v>
                </c:pt>
                <c:pt idx="195">
                  <c:v>1195.723797276067</c:v>
                </c:pt>
                <c:pt idx="196">
                  <c:v>1186.0828916680778</c:v>
                </c:pt>
                <c:pt idx="197">
                  <c:v>1175.6874804038114</c:v>
                </c:pt>
                <c:pt idx="198">
                  <c:v>1165.1244012159279</c:v>
                </c:pt>
                <c:pt idx="199">
                  <c:v>1155.1481597607042</c:v>
                </c:pt>
                <c:pt idx="200">
                  <c:v>1145.6749220763325</c:v>
                </c:pt>
                <c:pt idx="201">
                  <c:v>1136.2855183537692</c:v>
                </c:pt>
                <c:pt idx="202">
                  <c:v>1126.7284467075888</c:v>
                </c:pt>
                <c:pt idx="203">
                  <c:v>1117.0875410995998</c:v>
                </c:pt>
                <c:pt idx="204">
                  <c:v>1107.5304694534193</c:v>
                </c:pt>
                <c:pt idx="205">
                  <c:v>1098.1410657308561</c:v>
                </c:pt>
                <c:pt idx="206">
                  <c:v>1089.0031638937187</c:v>
                </c:pt>
                <c:pt idx="207">
                  <c:v>1079.9490960183898</c:v>
                </c:pt>
                <c:pt idx="208">
                  <c:v>1070.8950281430609</c:v>
                </c:pt>
                <c:pt idx="209">
                  <c:v>1061.8409602677323</c:v>
                </c:pt>
                <c:pt idx="210">
                  <c:v>1052.8707263542119</c:v>
                </c:pt>
                <c:pt idx="211">
                  <c:v>1044.0681603643088</c:v>
                </c:pt>
                <c:pt idx="212">
                  <c:v>1035.3494283362145</c:v>
                </c:pt>
                <c:pt idx="213">
                  <c:v>1026.7145302699287</c:v>
                </c:pt>
                <c:pt idx="214">
                  <c:v>1018.1634661654514</c:v>
                </c:pt>
                <c:pt idx="215">
                  <c:v>1009.6962360227827</c:v>
                </c:pt>
                <c:pt idx="216">
                  <c:v>1001.3128398419226</c:v>
                </c:pt>
                <c:pt idx="217">
                  <c:v>993.01327762287133</c:v>
                </c:pt>
                <c:pt idx="218">
                  <c:v>984.71371540381972</c:v>
                </c:pt>
                <c:pt idx="219">
                  <c:v>976.58182110838561</c:v>
                </c:pt>
                <c:pt idx="220">
                  <c:v>968.44992681295128</c:v>
                </c:pt>
                <c:pt idx="221">
                  <c:v>960.4018664793258</c:v>
                </c:pt>
                <c:pt idx="222">
                  <c:v>952.437640107508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0F8-40A4-B203-95E23E79D55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F$122:$F$344</c:f>
              <c:numCache>
                <c:formatCode>General</c:formatCode>
                <c:ptCount val="223"/>
                <c:pt idx="185" formatCode="0">
                  <c:v>1304.1211098945871</c:v>
                </c:pt>
                <c:pt idx="186" formatCode="0">
                  <c:v>1306.5522947870365</c:v>
                </c:pt>
                <c:pt idx="187" formatCode="0">
                  <c:v>1310.1571551448064</c:v>
                </c:pt>
                <c:pt idx="188">
                  <c:v>1316.5285362422601</c:v>
                </c:pt>
                <c:pt idx="189">
                  <c:v>1328.4329588190813</c:v>
                </c:pt>
                <c:pt idx="190">
                  <c:v>1342.7685662883518</c:v>
                </c:pt>
                <c:pt idx="191">
                  <c:v>1358.2778492229429</c:v>
                </c:pt>
                <c:pt idx="192">
                  <c:v>1369.6792680289127</c:v>
                </c:pt>
                <c:pt idx="193">
                  <c:v>1380.4100151404136</c:v>
                </c:pt>
                <c:pt idx="194">
                  <c:v>1392.4821056408518</c:v>
                </c:pt>
                <c:pt idx="195">
                  <c:v>1406.5662112246969</c:v>
                </c:pt>
                <c:pt idx="196">
                  <c:v>1421.4048224648191</c:v>
                </c:pt>
                <c:pt idx="197">
                  <c:v>1435.4889280486641</c:v>
                </c:pt>
                <c:pt idx="198">
                  <c:v>1448.8185279762315</c:v>
                </c:pt>
                <c:pt idx="199">
                  <c:v>1461.5612901711386</c:v>
                </c:pt>
                <c:pt idx="200">
                  <c:v>1475.2262259459405</c:v>
                </c:pt>
                <c:pt idx="201">
                  <c:v>1489.7295013388284</c:v>
                </c:pt>
                <c:pt idx="202">
                  <c:v>1504.4842786171421</c:v>
                </c:pt>
                <c:pt idx="203">
                  <c:v>1518.9037200482212</c:v>
                </c:pt>
                <c:pt idx="204">
                  <c:v>1533.0716595938748</c:v>
                </c:pt>
                <c:pt idx="205">
                  <c:v>1547.3234331013368</c:v>
                </c:pt>
                <c:pt idx="206">
                  <c:v>1561.994376417842</c:v>
                </c:pt>
                <c:pt idx="207">
                  <c:v>1577.08448954339</c:v>
                </c:pt>
                <c:pt idx="208">
                  <c:v>1592.2584366307467</c:v>
                </c:pt>
                <c:pt idx="209">
                  <c:v>1607.4323837181034</c:v>
                </c:pt>
                <c:pt idx="210">
                  <c:v>1622.5224968436514</c:v>
                </c:pt>
                <c:pt idx="211">
                  <c:v>1637.7802778928165</c:v>
                </c:pt>
                <c:pt idx="212">
                  <c:v>1653.2895608274075</c:v>
                </c:pt>
                <c:pt idx="213">
                  <c:v>1669.0503456474246</c:v>
                </c:pt>
                <c:pt idx="214">
                  <c:v>1684.89496442925</c:v>
                </c:pt>
                <c:pt idx="215">
                  <c:v>1700.8234171728841</c:v>
                </c:pt>
                <c:pt idx="216">
                  <c:v>1716.8357038783267</c:v>
                </c:pt>
                <c:pt idx="217">
                  <c:v>1733.0156585073867</c:v>
                </c:pt>
                <c:pt idx="218">
                  <c:v>1749.4471150218724</c:v>
                </c:pt>
                <c:pt idx="219">
                  <c:v>1766.0462394599751</c:v>
                </c:pt>
                <c:pt idx="220">
                  <c:v>1782.7291978598867</c:v>
                </c:pt>
                <c:pt idx="221">
                  <c:v>1799.4959902216067</c:v>
                </c:pt>
                <c:pt idx="222">
                  <c:v>1816.4304505069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00F8-40A4-B203-95E23E79D55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G$122:$G$344</c:f>
              <c:numCache>
                <c:formatCode>General</c:formatCode>
                <c:ptCount val="223"/>
                <c:pt idx="185" formatCode="0">
                  <c:v>1308.1451400613998</c:v>
                </c:pt>
                <c:pt idx="186" formatCode="0">
                  <c:v>1316.7800381276857</c:v>
                </c:pt>
                <c:pt idx="187" formatCode="0">
                  <c:v>1327.8461210864211</c:v>
                </c:pt>
                <c:pt idx="188">
                  <c:v>1342.349396479309</c:v>
                </c:pt>
                <c:pt idx="189">
                  <c:v>1363.9785586259279</c:v>
                </c:pt>
                <c:pt idx="190">
                  <c:v>1390.1347547102112</c:v>
                </c:pt>
                <c:pt idx="191">
                  <c:v>1419.8119771904555</c:v>
                </c:pt>
                <c:pt idx="192">
                  <c:v>1443.7046563059068</c:v>
                </c:pt>
                <c:pt idx="193">
                  <c:v>1466.507493917846</c:v>
                </c:pt>
                <c:pt idx="194">
                  <c:v>1490.9870107659574</c:v>
                </c:pt>
                <c:pt idx="195">
                  <c:v>1518.7360521246042</c:v>
                </c:pt>
                <c:pt idx="196">
                  <c:v>1548.0779387576142</c:v>
                </c:pt>
                <c:pt idx="197">
                  <c:v>1577.08448954339</c:v>
                </c:pt>
                <c:pt idx="198">
                  <c:v>1605.2527007110796</c:v>
                </c:pt>
                <c:pt idx="199">
                  <c:v>1632.7502401843008</c:v>
                </c:pt>
                <c:pt idx="200">
                  <c:v>1661.5891230464592</c:v>
                </c:pt>
                <c:pt idx="201">
                  <c:v>1692.1046851447898</c:v>
                </c:pt>
                <c:pt idx="202">
                  <c:v>1723.6262547848235</c:v>
                </c:pt>
                <c:pt idx="203">
                  <c:v>1754.9801565012399</c:v>
                </c:pt>
                <c:pt idx="204">
                  <c:v>1786.2502242558478</c:v>
                </c:pt>
                <c:pt idx="205">
                  <c:v>1817.9394618194985</c:v>
                </c:pt>
                <c:pt idx="206">
                  <c:v>1850.4670390012357</c:v>
                </c:pt>
                <c:pt idx="207">
                  <c:v>1884.0844576864843</c:v>
                </c:pt>
                <c:pt idx="208">
                  <c:v>1918.2887141043932</c:v>
                </c:pt>
                <c:pt idx="209">
                  <c:v>1952.8283063695369</c:v>
                </c:pt>
                <c:pt idx="210">
                  <c:v>1987.7032344819145</c:v>
                </c:pt>
                <c:pt idx="211">
                  <c:v>2023.1650003269524</c:v>
                </c:pt>
                <c:pt idx="212">
                  <c:v>2059.4651057900764</c:v>
                </c:pt>
                <c:pt idx="213">
                  <c:v>2096.6035508712866</c:v>
                </c:pt>
                <c:pt idx="214">
                  <c:v>2134.3288336851565</c:v>
                </c:pt>
                <c:pt idx="215">
                  <c:v>2172.6409542316869</c:v>
                </c:pt>
                <c:pt idx="216">
                  <c:v>2211.4560785490689</c:v>
                </c:pt>
                <c:pt idx="217">
                  <c:v>2251.0257085227281</c:v>
                </c:pt>
                <c:pt idx="218">
                  <c:v>2291.3498441526649</c:v>
                </c:pt>
                <c:pt idx="219">
                  <c:v>2332.4284854388793</c:v>
                </c:pt>
                <c:pt idx="220">
                  <c:v>2374.1777984195624</c:v>
                </c:pt>
                <c:pt idx="221">
                  <c:v>2416.6816170565226</c:v>
                </c:pt>
                <c:pt idx="222">
                  <c:v>2459.85610738795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00F8-40A4-B203-95E23E79D5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4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H$122:$H$344</c:f>
              <c:numCache>
                <c:formatCode>0</c:formatCode>
                <c:ptCount val="22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  <c:pt idx="188" formatCode="General">
                  <c:v>100</c:v>
                </c:pt>
                <c:pt idx="189" formatCode="General">
                  <c:v>100</c:v>
                </c:pt>
                <c:pt idx="190" formatCode="General">
                  <c:v>100</c:v>
                </c:pt>
                <c:pt idx="191" formatCode="General">
                  <c:v>100</c:v>
                </c:pt>
                <c:pt idx="192" formatCode="General">
                  <c:v>100</c:v>
                </c:pt>
                <c:pt idx="193" formatCode="General">
                  <c:v>100</c:v>
                </c:pt>
                <c:pt idx="194" formatCode="General">
                  <c:v>100</c:v>
                </c:pt>
                <c:pt idx="195" formatCode="General">
                  <c:v>100</c:v>
                </c:pt>
                <c:pt idx="196" formatCode="General">
                  <c:v>100</c:v>
                </c:pt>
                <c:pt idx="197" formatCode="General">
                  <c:v>100</c:v>
                </c:pt>
                <c:pt idx="198" formatCode="General">
                  <c:v>100</c:v>
                </c:pt>
                <c:pt idx="199" formatCode="General">
                  <c:v>100</c:v>
                </c:pt>
                <c:pt idx="200" formatCode="General">
                  <c:v>100</c:v>
                </c:pt>
                <c:pt idx="201" formatCode="General">
                  <c:v>100</c:v>
                </c:pt>
                <c:pt idx="202" formatCode="General">
                  <c:v>100</c:v>
                </c:pt>
                <c:pt idx="203" formatCode="General">
                  <c:v>100</c:v>
                </c:pt>
                <c:pt idx="204" formatCode="General">
                  <c:v>100</c:v>
                </c:pt>
                <c:pt idx="205" formatCode="General">
                  <c:v>100</c:v>
                </c:pt>
                <c:pt idx="206" formatCode="General">
                  <c:v>100</c:v>
                </c:pt>
                <c:pt idx="207" formatCode="General">
                  <c:v>100</c:v>
                </c:pt>
                <c:pt idx="208" formatCode="General">
                  <c:v>100</c:v>
                </c:pt>
                <c:pt idx="209" formatCode="General">
                  <c:v>100</c:v>
                </c:pt>
                <c:pt idx="210" formatCode="General">
                  <c:v>100</c:v>
                </c:pt>
                <c:pt idx="211" formatCode="General">
                  <c:v>100</c:v>
                </c:pt>
                <c:pt idx="212" formatCode="General">
                  <c:v>100</c:v>
                </c:pt>
                <c:pt idx="213" formatCode="General">
                  <c:v>100</c:v>
                </c:pt>
                <c:pt idx="214" formatCode="General">
                  <c:v>100</c:v>
                </c:pt>
                <c:pt idx="215" formatCode="General">
                  <c:v>100</c:v>
                </c:pt>
                <c:pt idx="216" formatCode="General">
                  <c:v>100</c:v>
                </c:pt>
                <c:pt idx="217" formatCode="General">
                  <c:v>100</c:v>
                </c:pt>
                <c:pt idx="218" formatCode="General">
                  <c:v>100</c:v>
                </c:pt>
                <c:pt idx="219" formatCode="General">
                  <c:v>100</c:v>
                </c:pt>
                <c:pt idx="220" formatCode="General">
                  <c:v>100</c:v>
                </c:pt>
                <c:pt idx="221" formatCode="General">
                  <c:v>100</c:v>
                </c:pt>
                <c:pt idx="222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7-4169-846F-DF9410986C03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I$122:$I$344</c:f>
              <c:numCache>
                <c:formatCode>0</c:formatCode>
                <c:ptCount val="22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  <c:pt idx="188" formatCode="General">
                  <c:v>50</c:v>
                </c:pt>
                <c:pt idx="189" formatCode="General">
                  <c:v>50</c:v>
                </c:pt>
                <c:pt idx="190" formatCode="General">
                  <c:v>50</c:v>
                </c:pt>
                <c:pt idx="191" formatCode="General">
                  <c:v>50</c:v>
                </c:pt>
                <c:pt idx="192" formatCode="General">
                  <c:v>50</c:v>
                </c:pt>
                <c:pt idx="193" formatCode="General">
                  <c:v>50</c:v>
                </c:pt>
                <c:pt idx="194" formatCode="General">
                  <c:v>50</c:v>
                </c:pt>
                <c:pt idx="195" formatCode="General">
                  <c:v>50</c:v>
                </c:pt>
                <c:pt idx="196" formatCode="General">
                  <c:v>50</c:v>
                </c:pt>
                <c:pt idx="197" formatCode="General">
                  <c:v>50</c:v>
                </c:pt>
                <c:pt idx="198" formatCode="General">
                  <c:v>50</c:v>
                </c:pt>
                <c:pt idx="199" formatCode="General">
                  <c:v>50</c:v>
                </c:pt>
                <c:pt idx="200" formatCode="General">
                  <c:v>50</c:v>
                </c:pt>
                <c:pt idx="201" formatCode="General">
                  <c:v>50</c:v>
                </c:pt>
                <c:pt idx="202" formatCode="General">
                  <c:v>50</c:v>
                </c:pt>
                <c:pt idx="203" formatCode="General">
                  <c:v>50</c:v>
                </c:pt>
                <c:pt idx="204" formatCode="General">
                  <c:v>50</c:v>
                </c:pt>
                <c:pt idx="205" formatCode="General">
                  <c:v>50</c:v>
                </c:pt>
                <c:pt idx="206" formatCode="General">
                  <c:v>50</c:v>
                </c:pt>
                <c:pt idx="207" formatCode="General">
                  <c:v>50</c:v>
                </c:pt>
                <c:pt idx="208" formatCode="General">
                  <c:v>50</c:v>
                </c:pt>
                <c:pt idx="209" formatCode="General">
                  <c:v>50</c:v>
                </c:pt>
                <c:pt idx="210" formatCode="General">
                  <c:v>50</c:v>
                </c:pt>
                <c:pt idx="211" formatCode="General">
                  <c:v>50</c:v>
                </c:pt>
                <c:pt idx="212" formatCode="General">
                  <c:v>50</c:v>
                </c:pt>
                <c:pt idx="213" formatCode="General">
                  <c:v>50</c:v>
                </c:pt>
                <c:pt idx="214" formatCode="General">
                  <c:v>50</c:v>
                </c:pt>
                <c:pt idx="215" formatCode="General">
                  <c:v>50</c:v>
                </c:pt>
                <c:pt idx="216" formatCode="General">
                  <c:v>50</c:v>
                </c:pt>
                <c:pt idx="217" formatCode="General">
                  <c:v>50</c:v>
                </c:pt>
                <c:pt idx="218" formatCode="General">
                  <c:v>50</c:v>
                </c:pt>
                <c:pt idx="219" formatCode="General">
                  <c:v>50</c:v>
                </c:pt>
                <c:pt idx="220" formatCode="General">
                  <c:v>50</c:v>
                </c:pt>
                <c:pt idx="221" formatCode="General">
                  <c:v>50</c:v>
                </c:pt>
                <c:pt idx="222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97-4169-846F-DF9410986C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B$122:$B$344</c:f>
              <c:numCache>
                <c:formatCode>0</c:formatCode>
                <c:ptCount val="223"/>
                <c:pt idx="0">
                  <c:v>24.118332629257786</c:v>
                </c:pt>
                <c:pt idx="1">
                  <c:v>22.62029954669519</c:v>
                </c:pt>
                <c:pt idx="2">
                  <c:v>24.867349170539079</c:v>
                </c:pt>
                <c:pt idx="3">
                  <c:v>24.343037591642172</c:v>
                </c:pt>
                <c:pt idx="4">
                  <c:v>23.818726012745266</c:v>
                </c:pt>
                <c:pt idx="5">
                  <c:v>23.594021050360876</c:v>
                </c:pt>
                <c:pt idx="6">
                  <c:v>23.369316087976486</c:v>
                </c:pt>
                <c:pt idx="7">
                  <c:v>23.444217742104616</c:v>
                </c:pt>
                <c:pt idx="8">
                  <c:v>22.17088962192641</c:v>
                </c:pt>
                <c:pt idx="9">
                  <c:v>18.350905261391794</c:v>
                </c:pt>
                <c:pt idx="10">
                  <c:v>17.002675487085455</c:v>
                </c:pt>
                <c:pt idx="11">
                  <c:v>15.87915067516351</c:v>
                </c:pt>
                <c:pt idx="12">
                  <c:v>14.905429171497824</c:v>
                </c:pt>
                <c:pt idx="13">
                  <c:v>13.482297743063357</c:v>
                </c:pt>
                <c:pt idx="14">
                  <c:v>12.059166314628893</c:v>
                </c:pt>
                <c:pt idx="15">
                  <c:v>12.208969622885151</c:v>
                </c:pt>
                <c:pt idx="16">
                  <c:v>13.931707667832137</c:v>
                </c:pt>
                <c:pt idx="17">
                  <c:v>14.530920900857176</c:v>
                </c:pt>
                <c:pt idx="18">
                  <c:v>15.130134133882212</c:v>
                </c:pt>
                <c:pt idx="19">
                  <c:v>15.954052329291642</c:v>
                </c:pt>
                <c:pt idx="20">
                  <c:v>17.002675487085455</c:v>
                </c:pt>
                <c:pt idx="21">
                  <c:v>16.553265562316678</c:v>
                </c:pt>
                <c:pt idx="22">
                  <c:v>16.028953983419768</c:v>
                </c:pt>
                <c:pt idx="23">
                  <c:v>15.130134133882212</c:v>
                </c:pt>
                <c:pt idx="24">
                  <c:v>15.804249021035382</c:v>
                </c:pt>
                <c:pt idx="25">
                  <c:v>16.628167216444808</c:v>
                </c:pt>
                <c:pt idx="26">
                  <c:v>17.152478795341715</c:v>
                </c:pt>
                <c:pt idx="27">
                  <c:v>19.624233381570001</c:v>
                </c:pt>
                <c:pt idx="28">
                  <c:v>21.571676388901373</c:v>
                </c:pt>
                <c:pt idx="29">
                  <c:v>24.792447516410952</c:v>
                </c:pt>
                <c:pt idx="30">
                  <c:v>27.039497140254845</c:v>
                </c:pt>
                <c:pt idx="31">
                  <c:v>28.013218643920531</c:v>
                </c:pt>
                <c:pt idx="32">
                  <c:v>29.511251726483128</c:v>
                </c:pt>
                <c:pt idx="33">
                  <c:v>32.357514583352057</c:v>
                </c:pt>
                <c:pt idx="34">
                  <c:v>31.159088117301984</c:v>
                </c:pt>
                <c:pt idx="35">
                  <c:v>30.335169921892554</c:v>
                </c:pt>
                <c:pt idx="36">
                  <c:v>32.73202285399271</c:v>
                </c:pt>
                <c:pt idx="37">
                  <c:v>34.155154282427176</c:v>
                </c:pt>
                <c:pt idx="38">
                  <c:v>36.701810522783589</c:v>
                </c:pt>
                <c:pt idx="39">
                  <c:v>36.027695635630415</c:v>
                </c:pt>
                <c:pt idx="40">
                  <c:v>36.177498943886675</c:v>
                </c:pt>
                <c:pt idx="41">
                  <c:v>37.900236988833662</c:v>
                </c:pt>
                <c:pt idx="42">
                  <c:v>42.918647815418353</c:v>
                </c:pt>
                <c:pt idx="43">
                  <c:v>41.645319695240147</c:v>
                </c:pt>
                <c:pt idx="44">
                  <c:v>41.645319695240147</c:v>
                </c:pt>
                <c:pt idx="45">
                  <c:v>41.420614732855761</c:v>
                </c:pt>
                <c:pt idx="46">
                  <c:v>43.967270973212173</c:v>
                </c:pt>
                <c:pt idx="47">
                  <c:v>42.843746161290227</c:v>
                </c:pt>
                <c:pt idx="48">
                  <c:v>42.61904119890584</c:v>
                </c:pt>
                <c:pt idx="49">
                  <c:v>41.645319695240147</c:v>
                </c:pt>
                <c:pt idx="50">
                  <c:v>40.222188266805681</c:v>
                </c:pt>
                <c:pt idx="51">
                  <c:v>38.574351875986828</c:v>
                </c:pt>
                <c:pt idx="52">
                  <c:v>36.177498943886675</c:v>
                </c:pt>
                <c:pt idx="53">
                  <c:v>33.555941049402136</c:v>
                </c:pt>
                <c:pt idx="54">
                  <c:v>31.908104658583284</c:v>
                </c:pt>
                <c:pt idx="55">
                  <c:v>30.934383154917594</c:v>
                </c:pt>
                <c:pt idx="56">
                  <c:v>28.088120298048661</c:v>
                </c:pt>
                <c:pt idx="57">
                  <c:v>26.889693831998585</c:v>
                </c:pt>
                <c:pt idx="58">
                  <c:v>24.867349170539079</c:v>
                </c:pt>
                <c:pt idx="59">
                  <c:v>22.62029954669519</c:v>
                </c:pt>
                <c:pt idx="60">
                  <c:v>22.09598796779828</c:v>
                </c:pt>
                <c:pt idx="61">
                  <c:v>21.571676388901373</c:v>
                </c:pt>
                <c:pt idx="62">
                  <c:v>20.597954885235687</c:v>
                </c:pt>
                <c:pt idx="63">
                  <c:v>20.822659847620073</c:v>
                </c:pt>
                <c:pt idx="64">
                  <c:v>20.747758193491947</c:v>
                </c:pt>
                <c:pt idx="65">
                  <c:v>20.448151576979427</c:v>
                </c:pt>
                <c:pt idx="66">
                  <c:v>21.496774734773243</c:v>
                </c:pt>
                <c:pt idx="67">
                  <c:v>22.84500450907958</c:v>
                </c:pt>
                <c:pt idx="68">
                  <c:v>23.444217742104616</c:v>
                </c:pt>
                <c:pt idx="69">
                  <c:v>23.294414433848356</c:v>
                </c:pt>
                <c:pt idx="70">
                  <c:v>25.017152478795342</c:v>
                </c:pt>
                <c:pt idx="71">
                  <c:v>25.466562403564119</c:v>
                </c:pt>
                <c:pt idx="72">
                  <c:v>27.114398794382979</c:v>
                </c:pt>
                <c:pt idx="73">
                  <c:v>29.960661651251904</c:v>
                </c:pt>
                <c:pt idx="74">
                  <c:v>28.986940147586221</c:v>
                </c:pt>
                <c:pt idx="75">
                  <c:v>28.762235185201831</c:v>
                </c:pt>
                <c:pt idx="76">
                  <c:v>30.7096781925332</c:v>
                </c:pt>
                <c:pt idx="77">
                  <c:v>28.912038493458088</c:v>
                </c:pt>
                <c:pt idx="78">
                  <c:v>28.837136839329958</c:v>
                </c:pt>
                <c:pt idx="79">
                  <c:v>28.762235185201831</c:v>
                </c:pt>
                <c:pt idx="80">
                  <c:v>27.713612027408011</c:v>
                </c:pt>
                <c:pt idx="81">
                  <c:v>28.013218643920531</c:v>
                </c:pt>
                <c:pt idx="82">
                  <c:v>29.136743455842478</c:v>
                </c:pt>
                <c:pt idx="83">
                  <c:v>27.938316989792405</c:v>
                </c:pt>
                <c:pt idx="84">
                  <c:v>28.762235185201831</c:v>
                </c:pt>
                <c:pt idx="85">
                  <c:v>30.410071576020687</c:v>
                </c:pt>
                <c:pt idx="86">
                  <c:v>31.009284809045724</c:v>
                </c:pt>
                <c:pt idx="87">
                  <c:v>29.436350072354998</c:v>
                </c:pt>
                <c:pt idx="88">
                  <c:v>29.061841801714351</c:v>
                </c:pt>
                <c:pt idx="89">
                  <c:v>27.638710373279885</c:v>
                </c:pt>
                <c:pt idx="90">
                  <c:v>28.237923606304925</c:v>
                </c:pt>
                <c:pt idx="91">
                  <c:v>27.788513681536141</c:v>
                </c:pt>
                <c:pt idx="92">
                  <c:v>26.065775636589159</c:v>
                </c:pt>
                <c:pt idx="93">
                  <c:v>25.766169020076639</c:v>
                </c:pt>
                <c:pt idx="94">
                  <c:v>26.739890523742329</c:v>
                </c:pt>
                <c:pt idx="95">
                  <c:v>27.189300448511105</c:v>
                </c:pt>
                <c:pt idx="96">
                  <c:v>27.563808719151755</c:v>
                </c:pt>
                <c:pt idx="97">
                  <c:v>30.185366613636297</c:v>
                </c:pt>
                <c:pt idx="98">
                  <c:v>36.027695635630415</c:v>
                </c:pt>
                <c:pt idx="99">
                  <c:v>37.525728718193015</c:v>
                </c:pt>
                <c:pt idx="100">
                  <c:v>39.772778342036908</c:v>
                </c:pt>
                <c:pt idx="101">
                  <c:v>40.671598191574461</c:v>
                </c:pt>
                <c:pt idx="102">
                  <c:v>41.046106462215107</c:v>
                </c:pt>
                <c:pt idx="103">
                  <c:v>41.570418041112021</c:v>
                </c:pt>
                <c:pt idx="104">
                  <c:v>41.795123003496407</c:v>
                </c:pt>
                <c:pt idx="105">
                  <c:v>39.922581650293161</c:v>
                </c:pt>
                <c:pt idx="106">
                  <c:v>43.368057740187133</c:v>
                </c:pt>
                <c:pt idx="107">
                  <c:v>45.914713980543546</c:v>
                </c:pt>
                <c:pt idx="108">
                  <c:v>46.289222251184199</c:v>
                </c:pt>
                <c:pt idx="109">
                  <c:v>47.487648717234272</c:v>
                </c:pt>
                <c:pt idx="110">
                  <c:v>48.835878491540605</c:v>
                </c:pt>
                <c:pt idx="111">
                  <c:v>49.809599995206291</c:v>
                </c:pt>
                <c:pt idx="112">
                  <c:v>50.034304957590685</c:v>
                </c:pt>
                <c:pt idx="113">
                  <c:v>49.884501649334425</c:v>
                </c:pt>
                <c:pt idx="114">
                  <c:v>48.910780145668738</c:v>
                </c:pt>
                <c:pt idx="115">
                  <c:v>51.682141348409537</c:v>
                </c:pt>
                <c:pt idx="116">
                  <c:v>52.730764506203357</c:v>
                </c:pt>
                <c:pt idx="117">
                  <c:v>53.32997773922839</c:v>
                </c:pt>
                <c:pt idx="118">
                  <c:v>53.32997773922839</c:v>
                </c:pt>
                <c:pt idx="119">
                  <c:v>50.408813228231331</c:v>
                </c:pt>
                <c:pt idx="120">
                  <c:v>53.479781047484657</c:v>
                </c:pt>
                <c:pt idx="121">
                  <c:v>55.87663397958481</c:v>
                </c:pt>
                <c:pt idx="122">
                  <c:v>57.973880295172442</c:v>
                </c:pt>
                <c:pt idx="123">
                  <c:v>60.220929919016335</c:v>
                </c:pt>
                <c:pt idx="124">
                  <c:v>60.520536535528848</c:v>
                </c:pt>
                <c:pt idx="125">
                  <c:v>62.318176234603968</c:v>
                </c:pt>
                <c:pt idx="126">
                  <c:v>69.134226760263772</c:v>
                </c:pt>
                <c:pt idx="127">
                  <c:v>67.935800294213706</c:v>
                </c:pt>
                <c:pt idx="128">
                  <c:v>69.059325106135645</c:v>
                </c:pt>
                <c:pt idx="129">
                  <c:v>72.280096233645224</c:v>
                </c:pt>
                <c:pt idx="130">
                  <c:v>73.478522699695304</c:v>
                </c:pt>
                <c:pt idx="131">
                  <c:v>73.553424353823431</c:v>
                </c:pt>
                <c:pt idx="132">
                  <c:v>79.545556684073816</c:v>
                </c:pt>
                <c:pt idx="133">
                  <c:v>79.920064954714462</c:v>
                </c:pt>
                <c:pt idx="134">
                  <c:v>86.586312172117999</c:v>
                </c:pt>
                <c:pt idx="135">
                  <c:v>90.031788262011972</c:v>
                </c:pt>
                <c:pt idx="136">
                  <c:v>93.102756081265298</c:v>
                </c:pt>
                <c:pt idx="137">
                  <c:v>98.196068561978123</c:v>
                </c:pt>
                <c:pt idx="138">
                  <c:v>104.48780750874101</c:v>
                </c:pt>
                <c:pt idx="139">
                  <c:v>116.39717051511364</c:v>
                </c:pt>
                <c:pt idx="140">
                  <c:v>133.47474765632725</c:v>
                </c:pt>
                <c:pt idx="141">
                  <c:v>153.99780088743478</c:v>
                </c:pt>
                <c:pt idx="142">
                  <c:v>180.51298644879273</c:v>
                </c:pt>
                <c:pt idx="143">
                  <c:v>204.63131907805052</c:v>
                </c:pt>
                <c:pt idx="144">
                  <c:v>227.77593020364262</c:v>
                </c:pt>
                <c:pt idx="145">
                  <c:v>240.43430975129652</c:v>
                </c:pt>
                <c:pt idx="146">
                  <c:v>257.06247696774136</c:v>
                </c:pt>
                <c:pt idx="147">
                  <c:v>296.61055034739388</c:v>
                </c:pt>
                <c:pt idx="148">
                  <c:v>322.75122763811117</c:v>
                </c:pt>
                <c:pt idx="149">
                  <c:v>333.23745921604933</c:v>
                </c:pt>
                <c:pt idx="150">
                  <c:v>347.16916688388147</c:v>
                </c:pt>
                <c:pt idx="151">
                  <c:v>359.75264477740728</c:v>
                </c:pt>
                <c:pt idx="152">
                  <c:v>366.5686953030671</c:v>
                </c:pt>
                <c:pt idx="153">
                  <c:v>387.91566672958407</c:v>
                </c:pt>
                <c:pt idx="154">
                  <c:v>417.20221349368285</c:v>
                </c:pt>
                <c:pt idx="155">
                  <c:v>432.93156086059003</c:v>
                </c:pt>
                <c:pt idx="156">
                  <c:v>454.50323724949141</c:v>
                </c:pt>
                <c:pt idx="157">
                  <c:v>465.88828867696714</c:v>
                </c:pt>
                <c:pt idx="158">
                  <c:v>479.37058642003046</c:v>
                </c:pt>
                <c:pt idx="159">
                  <c:v>483.63998070533393</c:v>
                </c:pt>
                <c:pt idx="160">
                  <c:v>504.46264055295399</c:v>
                </c:pt>
                <c:pt idx="161">
                  <c:v>533.82408897118091</c:v>
                </c:pt>
                <c:pt idx="162">
                  <c:v>572.77294911780837</c:v>
                </c:pt>
                <c:pt idx="163">
                  <c:v>587.30387001866552</c:v>
                </c:pt>
                <c:pt idx="164">
                  <c:v>630.22251783408387</c:v>
                </c:pt>
                <c:pt idx="165">
                  <c:v>666.17531181558616</c:v>
                </c:pt>
                <c:pt idx="166">
                  <c:v>694.63794038427545</c:v>
                </c:pt>
                <c:pt idx="167">
                  <c:v>706.77200835303245</c:v>
                </c:pt>
                <c:pt idx="168">
                  <c:v>781.59876082703408</c:v>
                </c:pt>
                <c:pt idx="169">
                  <c:v>806.69081495995749</c:v>
                </c:pt>
                <c:pt idx="170">
                  <c:v>825.41622849199007</c:v>
                </c:pt>
                <c:pt idx="171">
                  <c:v>929.45462607596232</c:v>
                </c:pt>
                <c:pt idx="172">
                  <c:v>969.6768143427679</c:v>
                </c:pt>
                <c:pt idx="173">
                  <c:v>1004.9554934371171</c:v>
                </c:pt>
                <c:pt idx="174">
                  <c:v>1034.2420402012158</c:v>
                </c:pt>
                <c:pt idx="175">
                  <c:v>1054.9897983947078</c:v>
                </c:pt>
                <c:pt idx="176">
                  <c:v>1038.4365328323911</c:v>
                </c:pt>
                <c:pt idx="177">
                  <c:v>1164.4211150759052</c:v>
                </c:pt>
                <c:pt idx="178">
                  <c:v>1104.125283502761</c:v>
                </c:pt>
                <c:pt idx="179">
                  <c:v>1086.7480997450348</c:v>
                </c:pt>
                <c:pt idx="180">
                  <c:v>1101.4288239541484</c:v>
                </c:pt>
                <c:pt idx="181">
                  <c:v>1131.5392889136563</c:v>
                </c:pt>
                <c:pt idx="182">
                  <c:v>1069.8952275662054</c:v>
                </c:pt>
                <c:pt idx="183">
                  <c:v>1097.9833478642543</c:v>
                </c:pt>
                <c:pt idx="184">
                  <c:v>1004.2064768958356</c:v>
                </c:pt>
                <c:pt idx="185">
                  <c:v>978.21560291337482</c:v>
                </c:pt>
                <c:pt idx="186">
                  <c:v>954.47177855475763</c:v>
                </c:pt>
                <c:pt idx="187">
                  <c:v>912.3021472806206</c:v>
                </c:pt>
                <c:pt idx="188">
                  <c:v>895.37437344766329</c:v>
                </c:pt>
                <c:pt idx="189">
                  <c:v>862.492547285414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397-4169-846F-DF9410986C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C$122:$C$344</c:f>
              <c:numCache>
                <c:formatCode>General</c:formatCode>
                <c:ptCount val="22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397-4169-846F-DF9410986C0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D$122:$D$344</c:f>
              <c:numCache>
                <c:formatCode>General</c:formatCode>
                <c:ptCount val="223"/>
                <c:pt idx="185" formatCode="0">
                  <c:v>1031.470678998475</c:v>
                </c:pt>
                <c:pt idx="186" formatCode="0">
                  <c:v>1018.5126928343086</c:v>
                </c:pt>
                <c:pt idx="187" formatCode="0">
                  <c:v>1003.6072636628107</c:v>
                </c:pt>
                <c:pt idx="188">
                  <c:v>989.15124441608168</c:v>
                </c:pt>
                <c:pt idx="189">
                  <c:v>975.81874998127466</c:v>
                </c:pt>
                <c:pt idx="190">
                  <c:v>960.08940261436726</c:v>
                </c:pt>
                <c:pt idx="191">
                  <c:v>940.6898741951818</c:v>
                </c:pt>
                <c:pt idx="192">
                  <c:v>922.71347720443066</c:v>
                </c:pt>
                <c:pt idx="193">
                  <c:v>906.38491660449824</c:v>
                </c:pt>
                <c:pt idx="194">
                  <c:v>891.03007750823167</c:v>
                </c:pt>
                <c:pt idx="195">
                  <c:v>875.60033675783689</c:v>
                </c:pt>
                <c:pt idx="196">
                  <c:v>859.94589104505781</c:v>
                </c:pt>
                <c:pt idx="197">
                  <c:v>843.91693706163812</c:v>
                </c:pt>
                <c:pt idx="198">
                  <c:v>828.11268804060273</c:v>
                </c:pt>
                <c:pt idx="199">
                  <c:v>813.35706217736117</c:v>
                </c:pt>
                <c:pt idx="200">
                  <c:v>799.12574789301641</c:v>
                </c:pt>
                <c:pt idx="201">
                  <c:v>785.04423691692807</c:v>
                </c:pt>
                <c:pt idx="202">
                  <c:v>770.88782428671152</c:v>
                </c:pt>
                <c:pt idx="203">
                  <c:v>756.88121496475128</c:v>
                </c:pt>
                <c:pt idx="204">
                  <c:v>743.17421225930354</c:v>
                </c:pt>
                <c:pt idx="205">
                  <c:v>729.91661947862451</c:v>
                </c:pt>
                <c:pt idx="206">
                  <c:v>717.03353496858631</c:v>
                </c:pt>
                <c:pt idx="207">
                  <c:v>704.30025376680419</c:v>
                </c:pt>
                <c:pt idx="208">
                  <c:v>691.64187421915028</c:v>
                </c:pt>
                <c:pt idx="209">
                  <c:v>679.20819963388067</c:v>
                </c:pt>
                <c:pt idx="210">
                  <c:v>667.07413166512379</c:v>
                </c:pt>
                <c:pt idx="211">
                  <c:v>655.23967031287918</c:v>
                </c:pt>
                <c:pt idx="212">
                  <c:v>643.7048155771472</c:v>
                </c:pt>
                <c:pt idx="213">
                  <c:v>632.24486249554332</c:v>
                </c:pt>
                <c:pt idx="214">
                  <c:v>621.00961437632395</c:v>
                </c:pt>
                <c:pt idx="215">
                  <c:v>609.99907121948877</c:v>
                </c:pt>
                <c:pt idx="216">
                  <c:v>599.21323302503811</c:v>
                </c:pt>
                <c:pt idx="217">
                  <c:v>588.65209979297185</c:v>
                </c:pt>
                <c:pt idx="218">
                  <c:v>578.31567152328989</c:v>
                </c:pt>
                <c:pt idx="219">
                  <c:v>568.12904656186424</c:v>
                </c:pt>
                <c:pt idx="220">
                  <c:v>558.167126562823</c:v>
                </c:pt>
                <c:pt idx="221">
                  <c:v>548.35500987203807</c:v>
                </c:pt>
                <c:pt idx="222">
                  <c:v>538.767598143637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397-4169-846F-DF9410986C0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E$122:$E$344</c:f>
              <c:numCache>
                <c:formatCode>General</c:formatCode>
                <c:ptCount val="223"/>
                <c:pt idx="185" formatCode="0">
                  <c:v>1034.6165484718565</c:v>
                </c:pt>
                <c:pt idx="186" formatCode="0">
                  <c:v>1026.6020714801466</c:v>
                </c:pt>
                <c:pt idx="187" formatCode="0">
                  <c:v>1017.613872984771</c:v>
                </c:pt>
                <c:pt idx="188">
                  <c:v>1009.6742976471892</c:v>
                </c:pt>
                <c:pt idx="189">
                  <c:v>1003.9068702793234</c:v>
                </c:pt>
                <c:pt idx="190">
                  <c:v>997.01591809953538</c:v>
                </c:pt>
                <c:pt idx="191">
                  <c:v>987.87791629590345</c:v>
                </c:pt>
                <c:pt idx="192">
                  <c:v>978.44030787575912</c:v>
                </c:pt>
                <c:pt idx="193">
                  <c:v>969.75171599689611</c:v>
                </c:pt>
                <c:pt idx="194">
                  <c:v>961.96194396757051</c:v>
                </c:pt>
                <c:pt idx="195">
                  <c:v>954.39687690062942</c:v>
                </c:pt>
                <c:pt idx="196">
                  <c:v>946.68200652543214</c:v>
                </c:pt>
                <c:pt idx="197">
                  <c:v>938.44282457133784</c:v>
                </c:pt>
                <c:pt idx="198">
                  <c:v>929.97893765485924</c:v>
                </c:pt>
                <c:pt idx="199">
                  <c:v>921.96446066314923</c:v>
                </c:pt>
                <c:pt idx="200">
                  <c:v>914.39939359620814</c:v>
                </c:pt>
                <c:pt idx="201">
                  <c:v>906.90922818339527</c:v>
                </c:pt>
                <c:pt idx="202">
                  <c:v>899.34416111645407</c:v>
                </c:pt>
                <c:pt idx="203">
                  <c:v>891.6292907412568</c:v>
                </c:pt>
                <c:pt idx="204">
                  <c:v>883.9144203660594</c:v>
                </c:pt>
                <c:pt idx="205">
                  <c:v>876.4242549532463</c:v>
                </c:pt>
                <c:pt idx="206">
                  <c:v>869.15879450281784</c:v>
                </c:pt>
                <c:pt idx="207">
                  <c:v>861.96823570651725</c:v>
                </c:pt>
                <c:pt idx="208">
                  <c:v>854.77767691021688</c:v>
                </c:pt>
                <c:pt idx="209">
                  <c:v>847.51221645978842</c:v>
                </c:pt>
                <c:pt idx="210">
                  <c:v>840.39655931761604</c:v>
                </c:pt>
                <c:pt idx="211">
                  <c:v>833.43070548369985</c:v>
                </c:pt>
                <c:pt idx="212">
                  <c:v>826.53975330391199</c:v>
                </c:pt>
                <c:pt idx="213">
                  <c:v>819.64880112412402</c:v>
                </c:pt>
                <c:pt idx="214">
                  <c:v>812.75784894433605</c:v>
                </c:pt>
                <c:pt idx="215">
                  <c:v>805.94179841867629</c:v>
                </c:pt>
                <c:pt idx="216">
                  <c:v>799.20064954714462</c:v>
                </c:pt>
                <c:pt idx="217">
                  <c:v>792.53440232974094</c:v>
                </c:pt>
                <c:pt idx="218">
                  <c:v>785.94305676646559</c:v>
                </c:pt>
                <c:pt idx="219">
                  <c:v>779.42661285731833</c:v>
                </c:pt>
                <c:pt idx="220">
                  <c:v>772.98507060229917</c:v>
                </c:pt>
                <c:pt idx="221">
                  <c:v>766.61843000140811</c:v>
                </c:pt>
                <c:pt idx="222">
                  <c:v>760.251789400517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397-4169-846F-DF9410986C0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F$122:$F$344</c:f>
              <c:numCache>
                <c:formatCode>General</c:formatCode>
                <c:ptCount val="223"/>
                <c:pt idx="185" formatCode="0">
                  <c:v>1041.0580907268757</c:v>
                </c:pt>
                <c:pt idx="186" formatCode="0">
                  <c:v>1043.0055337342069</c:v>
                </c:pt>
                <c:pt idx="187" formatCode="0">
                  <c:v>1045.9266982452041</c:v>
                </c:pt>
                <c:pt idx="188">
                  <c:v>1050.9451090717887</c:v>
                </c:pt>
                <c:pt idx="189">
                  <c:v>1060.4576191460612</c:v>
                </c:pt>
                <c:pt idx="190">
                  <c:v>1071.8426705735369</c:v>
                </c:pt>
                <c:pt idx="191">
                  <c:v>1084.2014435046783</c:v>
                </c:pt>
                <c:pt idx="192">
                  <c:v>1093.264543654182</c:v>
                </c:pt>
                <c:pt idx="193">
                  <c:v>1101.8033322247888</c:v>
                </c:pt>
                <c:pt idx="194">
                  <c:v>1111.3907439531895</c:v>
                </c:pt>
                <c:pt idx="195">
                  <c:v>1122.625992072409</c:v>
                </c:pt>
                <c:pt idx="196">
                  <c:v>1134.4604534246535</c:v>
                </c:pt>
                <c:pt idx="197">
                  <c:v>1145.770603198001</c:v>
                </c:pt>
                <c:pt idx="198">
                  <c:v>1156.4066380841955</c:v>
                </c:pt>
                <c:pt idx="199">
                  <c:v>1166.5932630456209</c:v>
                </c:pt>
                <c:pt idx="200">
                  <c:v>1177.4540028941999</c:v>
                </c:pt>
                <c:pt idx="201">
                  <c:v>1188.9888576299318</c:v>
                </c:pt>
                <c:pt idx="202">
                  <c:v>1200.8233189821765</c:v>
                </c:pt>
                <c:pt idx="203">
                  <c:v>1212.3581737179084</c:v>
                </c:pt>
                <c:pt idx="204">
                  <c:v>1223.6683234912559</c:v>
                </c:pt>
                <c:pt idx="205">
                  <c:v>1235.0533749187316</c:v>
                </c:pt>
                <c:pt idx="206">
                  <c:v>1246.7380329627199</c:v>
                </c:pt>
                <c:pt idx="207">
                  <c:v>1258.7971992773489</c:v>
                </c:pt>
                <c:pt idx="208">
                  <c:v>1270.931267246106</c:v>
                </c:pt>
                <c:pt idx="209">
                  <c:v>1282.9904335607348</c:v>
                </c:pt>
                <c:pt idx="210">
                  <c:v>1295.0495998753636</c:v>
                </c:pt>
                <c:pt idx="211">
                  <c:v>1307.1836678441207</c:v>
                </c:pt>
                <c:pt idx="212">
                  <c:v>1319.5424407752621</c:v>
                </c:pt>
                <c:pt idx="213">
                  <c:v>1332.1259186687878</c:v>
                </c:pt>
                <c:pt idx="214">
                  <c:v>1344.7842982164418</c:v>
                </c:pt>
                <c:pt idx="215">
                  <c:v>1357.5175794182239</c:v>
                </c:pt>
                <c:pt idx="216">
                  <c:v>1370.3257622741341</c:v>
                </c:pt>
                <c:pt idx="217">
                  <c:v>1383.2088467841722</c:v>
                </c:pt>
                <c:pt idx="218">
                  <c:v>1396.3166362565951</c:v>
                </c:pt>
                <c:pt idx="219">
                  <c:v>1409.5742290372741</c:v>
                </c:pt>
                <c:pt idx="220">
                  <c:v>1422.9067234720812</c:v>
                </c:pt>
                <c:pt idx="221">
                  <c:v>1436.3141195610165</c:v>
                </c:pt>
                <c:pt idx="222">
                  <c:v>1449.79641730407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397-4169-846F-DF9410986C03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G$122:$G$344</c:f>
              <c:numCache>
                <c:formatCode>General</c:formatCode>
                <c:ptCount val="223"/>
                <c:pt idx="185" formatCode="0">
                  <c:v>1044.2039602002571</c:v>
                </c:pt>
                <c:pt idx="186" formatCode="0">
                  <c:v>1051.0949123800449</c:v>
                </c:pt>
                <c:pt idx="187" formatCode="0">
                  <c:v>1059.9333075671643</c:v>
                </c:pt>
                <c:pt idx="188">
                  <c:v>1071.4681623028964</c:v>
                </c:pt>
                <c:pt idx="189">
                  <c:v>1088.7704444064943</c:v>
                </c:pt>
                <c:pt idx="190">
                  <c:v>1109.5931042541145</c:v>
                </c:pt>
                <c:pt idx="191">
                  <c:v>1133.2620269586034</c:v>
                </c:pt>
                <c:pt idx="192">
                  <c:v>1152.3619487612766</c:v>
                </c:pt>
                <c:pt idx="193">
                  <c:v>1170.4881490602838</c:v>
                </c:pt>
                <c:pt idx="194">
                  <c:v>1190.0374807877256</c:v>
                </c:pt>
                <c:pt idx="195">
                  <c:v>1212.2083704096522</c:v>
                </c:pt>
                <c:pt idx="196">
                  <c:v>1235.6525881517568</c:v>
                </c:pt>
                <c:pt idx="197">
                  <c:v>1258.872100931477</c:v>
                </c:pt>
                <c:pt idx="198">
                  <c:v>1281.3425971699157</c:v>
                </c:pt>
                <c:pt idx="199">
                  <c:v>1303.288781829458</c:v>
                </c:pt>
                <c:pt idx="200">
                  <c:v>1326.358491300922</c:v>
                </c:pt>
                <c:pt idx="201">
                  <c:v>1350.7015288925641</c:v>
                </c:pt>
                <c:pt idx="202">
                  <c:v>1375.7935830254876</c:v>
                </c:pt>
                <c:pt idx="203">
                  <c:v>1400.810735504283</c:v>
                </c:pt>
                <c:pt idx="204">
                  <c:v>1425.678084674822</c:v>
                </c:pt>
                <c:pt idx="205">
                  <c:v>1450.9199421160017</c:v>
                </c:pt>
                <c:pt idx="206">
                  <c:v>1476.9108160984629</c:v>
                </c:pt>
                <c:pt idx="207">
                  <c:v>1503.7256082763331</c:v>
                </c:pt>
                <c:pt idx="208">
                  <c:v>1531.0647120331005</c:v>
                </c:pt>
                <c:pt idx="209">
                  <c:v>1558.7034224063805</c:v>
                </c:pt>
                <c:pt idx="210">
                  <c:v>1586.4919360879164</c:v>
                </c:pt>
                <c:pt idx="211">
                  <c:v>1614.8796630024779</c:v>
                </c:pt>
                <c:pt idx="212">
                  <c:v>1643.8666031500641</c:v>
                </c:pt>
                <c:pt idx="213">
                  <c:v>1673.4527565306753</c:v>
                </c:pt>
                <c:pt idx="214">
                  <c:v>1703.5632214901834</c:v>
                </c:pt>
                <c:pt idx="215">
                  <c:v>1734.1230963744604</c:v>
                </c:pt>
                <c:pt idx="216">
                  <c:v>1765.1323811835061</c:v>
                </c:pt>
                <c:pt idx="217">
                  <c:v>1796.7408792255769</c:v>
                </c:pt>
                <c:pt idx="218">
                  <c:v>1828.8736888465444</c:v>
                </c:pt>
                <c:pt idx="219">
                  <c:v>1861.6806133546652</c:v>
                </c:pt>
                <c:pt idx="220">
                  <c:v>1895.0867510958112</c:v>
                </c:pt>
                <c:pt idx="221">
                  <c:v>1929.0172004158539</c:v>
                </c:pt>
                <c:pt idx="222">
                  <c:v>1963.47196131479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A397-4169-846F-DF9410986C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B$397:$B$497</c:f>
              <c:numCache>
                <c:formatCode>0</c:formatCode>
                <c:ptCount val="101"/>
                <c:pt idx="0">
                  <c:v>127</c:v>
                </c:pt>
                <c:pt idx="1">
                  <c:v>85</c:v>
                </c:pt>
                <c:pt idx="2">
                  <c:v>33</c:v>
                </c:pt>
                <c:pt idx="3">
                  <c:v>98</c:v>
                </c:pt>
                <c:pt idx="4">
                  <c:v>152</c:v>
                </c:pt>
                <c:pt idx="5">
                  <c:v>148</c:v>
                </c:pt>
                <c:pt idx="6">
                  <c:v>125</c:v>
                </c:pt>
                <c:pt idx="7">
                  <c:v>108</c:v>
                </c:pt>
                <c:pt idx="8">
                  <c:v>98</c:v>
                </c:pt>
                <c:pt idx="9">
                  <c:v>33</c:v>
                </c:pt>
                <c:pt idx="10">
                  <c:v>145</c:v>
                </c:pt>
                <c:pt idx="11">
                  <c:v>156</c:v>
                </c:pt>
                <c:pt idx="12">
                  <c:v>177</c:v>
                </c:pt>
                <c:pt idx="13">
                  <c:v>174</c:v>
                </c:pt>
                <c:pt idx="14">
                  <c:v>172</c:v>
                </c:pt>
                <c:pt idx="15">
                  <c:v>139</c:v>
                </c:pt>
                <c:pt idx="16">
                  <c:v>92</c:v>
                </c:pt>
                <c:pt idx="17">
                  <c:v>312</c:v>
                </c:pt>
                <c:pt idx="18">
                  <c:v>393</c:v>
                </c:pt>
                <c:pt idx="19">
                  <c:v>361</c:v>
                </c:pt>
                <c:pt idx="20">
                  <c:v>453</c:v>
                </c:pt>
                <c:pt idx="21">
                  <c:v>428</c:v>
                </c:pt>
                <c:pt idx="22">
                  <c:v>329</c:v>
                </c:pt>
                <c:pt idx="23">
                  <c:v>214</c:v>
                </c:pt>
                <c:pt idx="24">
                  <c:v>482</c:v>
                </c:pt>
                <c:pt idx="25">
                  <c:v>673</c:v>
                </c:pt>
                <c:pt idx="26">
                  <c:v>626</c:v>
                </c:pt>
                <c:pt idx="27">
                  <c:v>530</c:v>
                </c:pt>
                <c:pt idx="28">
                  <c:v>608</c:v>
                </c:pt>
                <c:pt idx="29">
                  <c:v>633</c:v>
                </c:pt>
                <c:pt idx="30">
                  <c:v>340</c:v>
                </c:pt>
                <c:pt idx="31">
                  <c:v>785</c:v>
                </c:pt>
                <c:pt idx="32">
                  <c:v>1186</c:v>
                </c:pt>
                <c:pt idx="33">
                  <c:v>1133</c:v>
                </c:pt>
                <c:pt idx="34">
                  <c:v>977</c:v>
                </c:pt>
                <c:pt idx="35">
                  <c:v>976</c:v>
                </c:pt>
                <c:pt idx="36">
                  <c:v>757</c:v>
                </c:pt>
                <c:pt idx="37">
                  <c:v>419</c:v>
                </c:pt>
                <c:pt idx="38">
                  <c:v>1047</c:v>
                </c:pt>
                <c:pt idx="39">
                  <c:v>1830</c:v>
                </c:pt>
                <c:pt idx="40">
                  <c:v>1733</c:v>
                </c:pt>
                <c:pt idx="41">
                  <c:v>1117</c:v>
                </c:pt>
                <c:pt idx="42">
                  <c:v>1548</c:v>
                </c:pt>
                <c:pt idx="43">
                  <c:v>1394</c:v>
                </c:pt>
                <c:pt idx="44">
                  <c:v>836</c:v>
                </c:pt>
                <c:pt idx="45">
                  <c:v>1268</c:v>
                </c:pt>
                <c:pt idx="46">
                  <c:v>2749</c:v>
                </c:pt>
                <c:pt idx="47">
                  <c:v>1985</c:v>
                </c:pt>
                <c:pt idx="48">
                  <c:v>1644</c:v>
                </c:pt>
                <c:pt idx="49">
                  <c:v>2669</c:v>
                </c:pt>
                <c:pt idx="50">
                  <c:v>2064</c:v>
                </c:pt>
                <c:pt idx="51">
                  <c:v>1171</c:v>
                </c:pt>
                <c:pt idx="52">
                  <c:v>1696</c:v>
                </c:pt>
                <c:pt idx="53">
                  <c:v>2761</c:v>
                </c:pt>
                <c:pt idx="54">
                  <c:v>2307</c:v>
                </c:pt>
                <c:pt idx="55">
                  <c:v>3010</c:v>
                </c:pt>
                <c:pt idx="56">
                  <c:v>2223</c:v>
                </c:pt>
                <c:pt idx="57">
                  <c:v>1624</c:v>
                </c:pt>
                <c:pt idx="58">
                  <c:v>1431</c:v>
                </c:pt>
                <c:pt idx="59">
                  <c:v>2121</c:v>
                </c:pt>
                <c:pt idx="60">
                  <c:v>2395</c:v>
                </c:pt>
                <c:pt idx="61">
                  <c:v>2300</c:v>
                </c:pt>
                <c:pt idx="62">
                  <c:v>2164</c:v>
                </c:pt>
                <c:pt idx="63">
                  <c:v>2023</c:v>
                </c:pt>
                <c:pt idx="64">
                  <c:v>1614</c:v>
                </c:pt>
                <c:pt idx="65">
                  <c:v>945</c:v>
                </c:pt>
                <c:pt idx="66">
                  <c:v>2089</c:v>
                </c:pt>
                <c:pt idx="67">
                  <c:v>23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1A-4DA9-AEBB-75C7990459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C$397:$C$497</c:f>
              <c:numCache>
                <c:formatCode>General</c:formatCode>
                <c:ptCount val="10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1A-4DA9-AEBB-75C7990459F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D$397:$D$497</c:f>
              <c:numCache>
                <c:formatCode>General</c:formatCode>
                <c:ptCount val="101"/>
                <c:pt idx="63">
                  <c:v>2325</c:v>
                </c:pt>
                <c:pt idx="64">
                  <c:v>2259</c:v>
                </c:pt>
                <c:pt idx="65">
                  <c:v>2212</c:v>
                </c:pt>
                <c:pt idx="66">
                  <c:v>2183</c:v>
                </c:pt>
                <c:pt idx="67">
                  <c:v>2153</c:v>
                </c:pt>
                <c:pt idx="68">
                  <c:v>2123</c:v>
                </c:pt>
                <c:pt idx="69">
                  <c:v>2082</c:v>
                </c:pt>
                <c:pt idx="70">
                  <c:v>2032</c:v>
                </c:pt>
                <c:pt idx="71">
                  <c:v>1993</c:v>
                </c:pt>
                <c:pt idx="72">
                  <c:v>1961</c:v>
                </c:pt>
                <c:pt idx="73">
                  <c:v>1932</c:v>
                </c:pt>
                <c:pt idx="74">
                  <c:v>1898</c:v>
                </c:pt>
                <c:pt idx="75">
                  <c:v>1861</c:v>
                </c:pt>
                <c:pt idx="76">
                  <c:v>1825</c:v>
                </c:pt>
                <c:pt idx="77">
                  <c:v>1791</c:v>
                </c:pt>
                <c:pt idx="78">
                  <c:v>1761</c:v>
                </c:pt>
                <c:pt idx="79">
                  <c:v>1731</c:v>
                </c:pt>
                <c:pt idx="80">
                  <c:v>1701</c:v>
                </c:pt>
                <c:pt idx="81">
                  <c:v>1669</c:v>
                </c:pt>
                <c:pt idx="82">
                  <c:v>1638</c:v>
                </c:pt>
                <c:pt idx="83">
                  <c:v>1609</c:v>
                </c:pt>
                <c:pt idx="84">
                  <c:v>1581</c:v>
                </c:pt>
                <c:pt idx="85">
                  <c:v>1553</c:v>
                </c:pt>
                <c:pt idx="86">
                  <c:v>1526</c:v>
                </c:pt>
                <c:pt idx="87">
                  <c:v>1498</c:v>
                </c:pt>
                <c:pt idx="88">
                  <c:v>1471</c:v>
                </c:pt>
                <c:pt idx="89">
                  <c:v>1445</c:v>
                </c:pt>
                <c:pt idx="90">
                  <c:v>1420</c:v>
                </c:pt>
                <c:pt idx="91">
                  <c:v>1395</c:v>
                </c:pt>
                <c:pt idx="92">
                  <c:v>1370</c:v>
                </c:pt>
                <c:pt idx="93">
                  <c:v>1346</c:v>
                </c:pt>
                <c:pt idx="94">
                  <c:v>1322</c:v>
                </c:pt>
                <c:pt idx="95">
                  <c:v>1299</c:v>
                </c:pt>
                <c:pt idx="96">
                  <c:v>1276</c:v>
                </c:pt>
                <c:pt idx="97">
                  <c:v>1254</c:v>
                </c:pt>
                <c:pt idx="98">
                  <c:v>1232</c:v>
                </c:pt>
                <c:pt idx="99">
                  <c:v>1210</c:v>
                </c:pt>
                <c:pt idx="100">
                  <c:v>1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1A-4DA9-AEBB-75C7990459F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E$397:$E$497</c:f>
              <c:numCache>
                <c:formatCode>General</c:formatCode>
                <c:ptCount val="101"/>
                <c:pt idx="63">
                  <c:v>2377</c:v>
                </c:pt>
                <c:pt idx="64">
                  <c:v>2340</c:v>
                </c:pt>
                <c:pt idx="65">
                  <c:v>2308</c:v>
                </c:pt>
                <c:pt idx="66">
                  <c:v>2289</c:v>
                </c:pt>
                <c:pt idx="67">
                  <c:v>2276</c:v>
                </c:pt>
                <c:pt idx="68">
                  <c:v>2267</c:v>
                </c:pt>
                <c:pt idx="69">
                  <c:v>2249</c:v>
                </c:pt>
                <c:pt idx="70">
                  <c:v>2223</c:v>
                </c:pt>
                <c:pt idx="71">
                  <c:v>2198</c:v>
                </c:pt>
                <c:pt idx="72">
                  <c:v>2181</c:v>
                </c:pt>
                <c:pt idx="73">
                  <c:v>2167</c:v>
                </c:pt>
                <c:pt idx="74">
                  <c:v>2151</c:v>
                </c:pt>
                <c:pt idx="75">
                  <c:v>2132</c:v>
                </c:pt>
                <c:pt idx="76">
                  <c:v>2112</c:v>
                </c:pt>
                <c:pt idx="77">
                  <c:v>2092</c:v>
                </c:pt>
                <c:pt idx="78">
                  <c:v>2075</c:v>
                </c:pt>
                <c:pt idx="79">
                  <c:v>2059</c:v>
                </c:pt>
                <c:pt idx="80">
                  <c:v>2043</c:v>
                </c:pt>
                <c:pt idx="81">
                  <c:v>2025</c:v>
                </c:pt>
                <c:pt idx="82">
                  <c:v>2007</c:v>
                </c:pt>
                <c:pt idx="83">
                  <c:v>1990</c:v>
                </c:pt>
                <c:pt idx="84">
                  <c:v>1973</c:v>
                </c:pt>
                <c:pt idx="85">
                  <c:v>1957</c:v>
                </c:pt>
                <c:pt idx="86">
                  <c:v>1941</c:v>
                </c:pt>
                <c:pt idx="87">
                  <c:v>1925</c:v>
                </c:pt>
                <c:pt idx="88">
                  <c:v>1908</c:v>
                </c:pt>
                <c:pt idx="89">
                  <c:v>1892</c:v>
                </c:pt>
                <c:pt idx="90">
                  <c:v>1877</c:v>
                </c:pt>
                <c:pt idx="91">
                  <c:v>1861</c:v>
                </c:pt>
                <c:pt idx="92">
                  <c:v>1846</c:v>
                </c:pt>
                <c:pt idx="93">
                  <c:v>1830</c:v>
                </c:pt>
                <c:pt idx="94">
                  <c:v>1815</c:v>
                </c:pt>
                <c:pt idx="95">
                  <c:v>1800</c:v>
                </c:pt>
                <c:pt idx="96">
                  <c:v>1785</c:v>
                </c:pt>
                <c:pt idx="97">
                  <c:v>1770</c:v>
                </c:pt>
                <c:pt idx="98">
                  <c:v>1756</c:v>
                </c:pt>
                <c:pt idx="99">
                  <c:v>1741</c:v>
                </c:pt>
                <c:pt idx="100">
                  <c:v>17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61A-4DA9-AEBB-75C7990459F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F$397:$F$497</c:f>
              <c:numCache>
                <c:formatCode>General</c:formatCode>
                <c:ptCount val="101"/>
                <c:pt idx="63">
                  <c:v>2481</c:v>
                </c:pt>
                <c:pt idx="64">
                  <c:v>2502</c:v>
                </c:pt>
                <c:pt idx="65">
                  <c:v>2502</c:v>
                </c:pt>
                <c:pt idx="66">
                  <c:v>2501</c:v>
                </c:pt>
                <c:pt idx="67">
                  <c:v>2526</c:v>
                </c:pt>
                <c:pt idx="68">
                  <c:v>2565</c:v>
                </c:pt>
                <c:pt idx="69">
                  <c:v>2600</c:v>
                </c:pt>
                <c:pt idx="70">
                  <c:v>2629</c:v>
                </c:pt>
                <c:pt idx="71">
                  <c:v>2641</c:v>
                </c:pt>
                <c:pt idx="72">
                  <c:v>2658</c:v>
                </c:pt>
                <c:pt idx="73">
                  <c:v>2685</c:v>
                </c:pt>
                <c:pt idx="74">
                  <c:v>2718</c:v>
                </c:pt>
                <c:pt idx="75">
                  <c:v>2749</c:v>
                </c:pt>
                <c:pt idx="76">
                  <c:v>2773</c:v>
                </c:pt>
                <c:pt idx="77">
                  <c:v>2795</c:v>
                </c:pt>
                <c:pt idx="78">
                  <c:v>2819</c:v>
                </c:pt>
                <c:pt idx="79">
                  <c:v>2847</c:v>
                </c:pt>
                <c:pt idx="80">
                  <c:v>2877</c:v>
                </c:pt>
                <c:pt idx="81">
                  <c:v>2906</c:v>
                </c:pt>
                <c:pt idx="82">
                  <c:v>2933</c:v>
                </c:pt>
                <c:pt idx="83">
                  <c:v>2959</c:v>
                </c:pt>
                <c:pt idx="84">
                  <c:v>2986</c:v>
                </c:pt>
                <c:pt idx="85">
                  <c:v>3015</c:v>
                </c:pt>
                <c:pt idx="86">
                  <c:v>3045</c:v>
                </c:pt>
                <c:pt idx="87">
                  <c:v>3074</c:v>
                </c:pt>
                <c:pt idx="88">
                  <c:v>3103</c:v>
                </c:pt>
                <c:pt idx="89">
                  <c:v>3131</c:v>
                </c:pt>
                <c:pt idx="90">
                  <c:v>3161</c:v>
                </c:pt>
                <c:pt idx="91">
                  <c:v>3191</c:v>
                </c:pt>
                <c:pt idx="92">
                  <c:v>3222</c:v>
                </c:pt>
                <c:pt idx="93">
                  <c:v>3252</c:v>
                </c:pt>
                <c:pt idx="94">
                  <c:v>3283</c:v>
                </c:pt>
                <c:pt idx="95">
                  <c:v>3313</c:v>
                </c:pt>
                <c:pt idx="96">
                  <c:v>3344</c:v>
                </c:pt>
                <c:pt idx="97">
                  <c:v>3376</c:v>
                </c:pt>
                <c:pt idx="98">
                  <c:v>3408</c:v>
                </c:pt>
                <c:pt idx="99">
                  <c:v>3440</c:v>
                </c:pt>
                <c:pt idx="100">
                  <c:v>34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61A-4DA9-AEBB-75C7990459F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G$397:$G$497</c:f>
              <c:numCache>
                <c:formatCode>General</c:formatCode>
                <c:ptCount val="101"/>
                <c:pt idx="63">
                  <c:v>2533</c:v>
                </c:pt>
                <c:pt idx="64">
                  <c:v>2582</c:v>
                </c:pt>
                <c:pt idx="65">
                  <c:v>2599</c:v>
                </c:pt>
                <c:pt idx="66">
                  <c:v>2607</c:v>
                </c:pt>
                <c:pt idx="67">
                  <c:v>2653</c:v>
                </c:pt>
                <c:pt idx="68">
                  <c:v>2719</c:v>
                </c:pt>
                <c:pt idx="69">
                  <c:v>2784</c:v>
                </c:pt>
                <c:pt idx="70">
                  <c:v>2844</c:v>
                </c:pt>
                <c:pt idx="71">
                  <c:v>2879</c:v>
                </c:pt>
                <c:pt idx="72">
                  <c:v>2917</c:v>
                </c:pt>
                <c:pt idx="73">
                  <c:v>2969</c:v>
                </c:pt>
                <c:pt idx="74">
                  <c:v>3034</c:v>
                </c:pt>
                <c:pt idx="75">
                  <c:v>3096</c:v>
                </c:pt>
                <c:pt idx="76">
                  <c:v>3151</c:v>
                </c:pt>
                <c:pt idx="77">
                  <c:v>3202</c:v>
                </c:pt>
                <c:pt idx="78">
                  <c:v>3254</c:v>
                </c:pt>
                <c:pt idx="79">
                  <c:v>3314</c:v>
                </c:pt>
                <c:pt idx="80">
                  <c:v>3378</c:v>
                </c:pt>
                <c:pt idx="81">
                  <c:v>3442</c:v>
                </c:pt>
                <c:pt idx="82">
                  <c:v>3503</c:v>
                </c:pt>
                <c:pt idx="83">
                  <c:v>3563</c:v>
                </c:pt>
                <c:pt idx="84">
                  <c:v>3625</c:v>
                </c:pt>
                <c:pt idx="85">
                  <c:v>3691</c:v>
                </c:pt>
                <c:pt idx="86">
                  <c:v>3760</c:v>
                </c:pt>
                <c:pt idx="87">
                  <c:v>3828</c:v>
                </c:pt>
                <c:pt idx="88">
                  <c:v>3896</c:v>
                </c:pt>
                <c:pt idx="89">
                  <c:v>3965</c:v>
                </c:pt>
                <c:pt idx="90">
                  <c:v>4035</c:v>
                </c:pt>
                <c:pt idx="91">
                  <c:v>4108</c:v>
                </c:pt>
                <c:pt idx="92">
                  <c:v>4183</c:v>
                </c:pt>
                <c:pt idx="93">
                  <c:v>4258</c:v>
                </c:pt>
                <c:pt idx="94">
                  <c:v>4334</c:v>
                </c:pt>
                <c:pt idx="95">
                  <c:v>4411</c:v>
                </c:pt>
                <c:pt idx="96">
                  <c:v>4489</c:v>
                </c:pt>
                <c:pt idx="97">
                  <c:v>4570</c:v>
                </c:pt>
                <c:pt idx="98">
                  <c:v>4652</c:v>
                </c:pt>
                <c:pt idx="99">
                  <c:v>4735</c:v>
                </c:pt>
                <c:pt idx="100">
                  <c:v>48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61A-4DA9-AEBB-75C7990459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ax val="44570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H$122:$H$344</c:f>
              <c:numCache>
                <c:formatCode>0</c:formatCode>
                <c:ptCount val="22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  <c:pt idx="188" formatCode="General">
                  <c:v>100</c:v>
                </c:pt>
                <c:pt idx="189" formatCode="General">
                  <c:v>100</c:v>
                </c:pt>
                <c:pt idx="190" formatCode="General">
                  <c:v>100</c:v>
                </c:pt>
                <c:pt idx="191" formatCode="General">
                  <c:v>100</c:v>
                </c:pt>
                <c:pt idx="192" formatCode="General">
                  <c:v>100</c:v>
                </c:pt>
                <c:pt idx="193" formatCode="General">
                  <c:v>100</c:v>
                </c:pt>
                <c:pt idx="194" formatCode="General">
                  <c:v>100</c:v>
                </c:pt>
                <c:pt idx="195" formatCode="General">
                  <c:v>100</c:v>
                </c:pt>
                <c:pt idx="196" formatCode="General">
                  <c:v>100</c:v>
                </c:pt>
                <c:pt idx="197" formatCode="General">
                  <c:v>100</c:v>
                </c:pt>
                <c:pt idx="198" formatCode="General">
                  <c:v>100</c:v>
                </c:pt>
                <c:pt idx="199" formatCode="General">
                  <c:v>100</c:v>
                </c:pt>
                <c:pt idx="200" formatCode="General">
                  <c:v>100</c:v>
                </c:pt>
                <c:pt idx="201" formatCode="General">
                  <c:v>100</c:v>
                </c:pt>
                <c:pt idx="202" formatCode="General">
                  <c:v>100</c:v>
                </c:pt>
                <c:pt idx="203" formatCode="General">
                  <c:v>100</c:v>
                </c:pt>
                <c:pt idx="204" formatCode="General">
                  <c:v>100</c:v>
                </c:pt>
                <c:pt idx="205" formatCode="General">
                  <c:v>100</c:v>
                </c:pt>
                <c:pt idx="206" formatCode="General">
                  <c:v>100</c:v>
                </c:pt>
                <c:pt idx="207" formatCode="General">
                  <c:v>100</c:v>
                </c:pt>
                <c:pt idx="208" formatCode="General">
                  <c:v>100</c:v>
                </c:pt>
                <c:pt idx="209" formatCode="General">
                  <c:v>100</c:v>
                </c:pt>
                <c:pt idx="210" formatCode="General">
                  <c:v>100</c:v>
                </c:pt>
                <c:pt idx="211" formatCode="General">
                  <c:v>100</c:v>
                </c:pt>
                <c:pt idx="212" formatCode="General">
                  <c:v>100</c:v>
                </c:pt>
                <c:pt idx="213" formatCode="General">
                  <c:v>100</c:v>
                </c:pt>
                <c:pt idx="214" formatCode="General">
                  <c:v>100</c:v>
                </c:pt>
                <c:pt idx="215" formatCode="General">
                  <c:v>100</c:v>
                </c:pt>
                <c:pt idx="216" formatCode="General">
                  <c:v>100</c:v>
                </c:pt>
                <c:pt idx="217" formatCode="General">
                  <c:v>100</c:v>
                </c:pt>
                <c:pt idx="218" formatCode="General">
                  <c:v>100</c:v>
                </c:pt>
                <c:pt idx="219" formatCode="General">
                  <c:v>100</c:v>
                </c:pt>
                <c:pt idx="220" formatCode="General">
                  <c:v>100</c:v>
                </c:pt>
                <c:pt idx="221" formatCode="General">
                  <c:v>100</c:v>
                </c:pt>
                <c:pt idx="222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AF-41D6-8405-081FF68E574F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I$122:$I$344</c:f>
              <c:numCache>
                <c:formatCode>0</c:formatCode>
                <c:ptCount val="22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  <c:pt idx="188" formatCode="General">
                  <c:v>50</c:v>
                </c:pt>
                <c:pt idx="189" formatCode="General">
                  <c:v>50</c:v>
                </c:pt>
                <c:pt idx="190" formatCode="General">
                  <c:v>50</c:v>
                </c:pt>
                <c:pt idx="191" formatCode="General">
                  <c:v>50</c:v>
                </c:pt>
                <c:pt idx="192" formatCode="General">
                  <c:v>50</c:v>
                </c:pt>
                <c:pt idx="193" formatCode="General">
                  <c:v>50</c:v>
                </c:pt>
                <c:pt idx="194" formatCode="General">
                  <c:v>50</c:v>
                </c:pt>
                <c:pt idx="195" formatCode="General">
                  <c:v>50</c:v>
                </c:pt>
                <c:pt idx="196" formatCode="General">
                  <c:v>50</c:v>
                </c:pt>
                <c:pt idx="197" formatCode="General">
                  <c:v>50</c:v>
                </c:pt>
                <c:pt idx="198" formatCode="General">
                  <c:v>50</c:v>
                </c:pt>
                <c:pt idx="199" formatCode="General">
                  <c:v>50</c:v>
                </c:pt>
                <c:pt idx="200" formatCode="General">
                  <c:v>50</c:v>
                </c:pt>
                <c:pt idx="201" formatCode="General">
                  <c:v>50</c:v>
                </c:pt>
                <c:pt idx="202" formatCode="General">
                  <c:v>50</c:v>
                </c:pt>
                <c:pt idx="203" formatCode="General">
                  <c:v>50</c:v>
                </c:pt>
                <c:pt idx="204" formatCode="General">
                  <c:v>50</c:v>
                </c:pt>
                <c:pt idx="205" formatCode="General">
                  <c:v>50</c:v>
                </c:pt>
                <c:pt idx="206" formatCode="General">
                  <c:v>50</c:v>
                </c:pt>
                <c:pt idx="207" formatCode="General">
                  <c:v>50</c:v>
                </c:pt>
                <c:pt idx="208" formatCode="General">
                  <c:v>50</c:v>
                </c:pt>
                <c:pt idx="209" formatCode="General">
                  <c:v>50</c:v>
                </c:pt>
                <c:pt idx="210" formatCode="General">
                  <c:v>50</c:v>
                </c:pt>
                <c:pt idx="211" formatCode="General">
                  <c:v>50</c:v>
                </c:pt>
                <c:pt idx="212" formatCode="General">
                  <c:v>50</c:v>
                </c:pt>
                <c:pt idx="213" formatCode="General">
                  <c:v>50</c:v>
                </c:pt>
                <c:pt idx="214" formatCode="General">
                  <c:v>50</c:v>
                </c:pt>
                <c:pt idx="215" formatCode="General">
                  <c:v>50</c:v>
                </c:pt>
                <c:pt idx="216" formatCode="General">
                  <c:v>50</c:v>
                </c:pt>
                <c:pt idx="217" formatCode="General">
                  <c:v>50</c:v>
                </c:pt>
                <c:pt idx="218" formatCode="General">
                  <c:v>50</c:v>
                </c:pt>
                <c:pt idx="219" formatCode="General">
                  <c:v>50</c:v>
                </c:pt>
                <c:pt idx="220" formatCode="General">
                  <c:v>50</c:v>
                </c:pt>
                <c:pt idx="221" formatCode="General">
                  <c:v>50</c:v>
                </c:pt>
                <c:pt idx="222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4AF-41D6-8405-081FF68E57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B$122:$B$344</c:f>
              <c:numCache>
                <c:formatCode>0</c:formatCode>
                <c:ptCount val="223"/>
                <c:pt idx="0">
                  <c:v>20.958557135673395</c:v>
                </c:pt>
                <c:pt idx="1">
                  <c:v>20.45784075359246</c:v>
                </c:pt>
                <c:pt idx="2">
                  <c:v>19.742531636333982</c:v>
                </c:pt>
                <c:pt idx="3">
                  <c:v>17.882727931461943</c:v>
                </c:pt>
                <c:pt idx="4">
                  <c:v>17.238949725929313</c:v>
                </c:pt>
                <c:pt idx="5">
                  <c:v>18.097320666639483</c:v>
                </c:pt>
                <c:pt idx="6">
                  <c:v>15.736800579686509</c:v>
                </c:pt>
                <c:pt idx="7">
                  <c:v>15.879862403138205</c:v>
                </c:pt>
                <c:pt idx="8">
                  <c:v>15.021491462428031</c:v>
                </c:pt>
                <c:pt idx="9">
                  <c:v>13.447811404459381</c:v>
                </c:pt>
                <c:pt idx="10">
                  <c:v>13.233218669281836</c:v>
                </c:pt>
                <c:pt idx="11">
                  <c:v>12.51790955202336</c:v>
                </c:pt>
                <c:pt idx="12">
                  <c:v>11.301884052683947</c:v>
                </c:pt>
                <c:pt idx="13">
                  <c:v>10.658105847151317</c:v>
                </c:pt>
                <c:pt idx="14">
                  <c:v>9.3705494360860566</c:v>
                </c:pt>
                <c:pt idx="15">
                  <c:v>8.5837094071017326</c:v>
                </c:pt>
                <c:pt idx="16">
                  <c:v>9.2274876126343628</c:v>
                </c:pt>
                <c:pt idx="17">
                  <c:v>9.5851421712636</c:v>
                </c:pt>
                <c:pt idx="18">
                  <c:v>9.5851421712636</c:v>
                </c:pt>
                <c:pt idx="19">
                  <c:v>9.7997349064411434</c:v>
                </c:pt>
                <c:pt idx="20">
                  <c:v>8.8698330540051238</c:v>
                </c:pt>
                <c:pt idx="21">
                  <c:v>8.0114621132949502</c:v>
                </c:pt>
                <c:pt idx="22">
                  <c:v>7.6538075546657112</c:v>
                </c:pt>
                <c:pt idx="23">
                  <c:v>7.36768390776232</c:v>
                </c:pt>
                <c:pt idx="24">
                  <c:v>8.4406475836500352</c:v>
                </c:pt>
                <c:pt idx="25">
                  <c:v>8.5837094071017326</c:v>
                </c:pt>
                <c:pt idx="26">
                  <c:v>8.2260548484724918</c:v>
                </c:pt>
                <c:pt idx="27">
                  <c:v>8.5121784953758848</c:v>
                </c:pt>
                <c:pt idx="28">
                  <c:v>9.0128948774568194</c:v>
                </c:pt>
                <c:pt idx="29">
                  <c:v>9.7997349064411434</c:v>
                </c:pt>
                <c:pt idx="30">
                  <c:v>10.157389465070382</c:v>
                </c:pt>
                <c:pt idx="31">
                  <c:v>9.3705494360860566</c:v>
                </c:pt>
                <c:pt idx="32">
                  <c:v>10.157389465070382</c:v>
                </c:pt>
                <c:pt idx="33">
                  <c:v>11.301884052683947</c:v>
                </c:pt>
                <c:pt idx="34">
                  <c:v>11.802600434764882</c:v>
                </c:pt>
                <c:pt idx="35">
                  <c:v>12.088724081668273</c:v>
                </c:pt>
                <c:pt idx="36">
                  <c:v>13.662404139636923</c:v>
                </c:pt>
                <c:pt idx="37">
                  <c:v>14.377713256895401</c:v>
                </c:pt>
                <c:pt idx="38">
                  <c:v>15.951393314864051</c:v>
                </c:pt>
                <c:pt idx="39">
                  <c:v>17.238949725929313</c:v>
                </c:pt>
                <c:pt idx="40">
                  <c:v>17.882727931461943</c:v>
                </c:pt>
                <c:pt idx="41">
                  <c:v>19.1702843425272</c:v>
                </c:pt>
                <c:pt idx="42">
                  <c:v>20.60090257704416</c:v>
                </c:pt>
                <c:pt idx="43">
                  <c:v>21.173149870850938</c:v>
                </c:pt>
                <c:pt idx="44">
                  <c:v>21.244680782576786</c:v>
                </c:pt>
                <c:pt idx="45">
                  <c:v>21.387742606028482</c:v>
                </c:pt>
                <c:pt idx="46">
                  <c:v>21.030088047399243</c:v>
                </c:pt>
                <c:pt idx="47">
                  <c:v>20.243248018414917</c:v>
                </c:pt>
                <c:pt idx="48">
                  <c:v>19.885593459785678</c:v>
                </c:pt>
                <c:pt idx="49">
                  <c:v>21.030088047399243</c:v>
                </c:pt>
                <c:pt idx="50">
                  <c:v>19.384877077704747</c:v>
                </c:pt>
                <c:pt idx="51">
                  <c:v>18.741098872172113</c:v>
                </c:pt>
                <c:pt idx="52">
                  <c:v>17.739666108010248</c:v>
                </c:pt>
                <c:pt idx="53">
                  <c:v>17.525073372832701</c:v>
                </c:pt>
                <c:pt idx="54">
                  <c:v>16.738233343848375</c:v>
                </c:pt>
                <c:pt idx="55">
                  <c:v>16.738233343848375</c:v>
                </c:pt>
                <c:pt idx="56">
                  <c:v>14.306182345169551</c:v>
                </c:pt>
                <c:pt idx="57">
                  <c:v>14.09158960999201</c:v>
                </c:pt>
                <c:pt idx="58">
                  <c:v>14.592305992072944</c:v>
                </c:pt>
                <c:pt idx="59">
                  <c:v>13.376280492733532</c:v>
                </c:pt>
                <c:pt idx="60">
                  <c:v>13.018625934104293</c:v>
                </c:pt>
                <c:pt idx="61">
                  <c:v>13.090156845830142</c:v>
                </c:pt>
                <c:pt idx="62">
                  <c:v>12.160254993394121</c:v>
                </c:pt>
                <c:pt idx="63">
                  <c:v>13.090156845830142</c:v>
                </c:pt>
                <c:pt idx="64">
                  <c:v>12.947095022378447</c:v>
                </c:pt>
                <c:pt idx="65">
                  <c:v>11.945662258216577</c:v>
                </c:pt>
                <c:pt idx="66">
                  <c:v>12.44637864029751</c:v>
                </c:pt>
                <c:pt idx="67">
                  <c:v>12.732502287200901</c:v>
                </c:pt>
                <c:pt idx="68">
                  <c:v>13.447811404459381</c:v>
                </c:pt>
                <c:pt idx="69">
                  <c:v>13.018625934104293</c:v>
                </c:pt>
                <c:pt idx="70">
                  <c:v>12.804033198926751</c:v>
                </c:pt>
                <c:pt idx="71">
                  <c:v>14.020058698266164</c:v>
                </c:pt>
                <c:pt idx="72">
                  <c:v>14.592305992072944</c:v>
                </c:pt>
                <c:pt idx="73">
                  <c:v>15.379146021057268</c:v>
                </c:pt>
                <c:pt idx="74">
                  <c:v>15.021491462428031</c:v>
                </c:pt>
                <c:pt idx="75">
                  <c:v>14.306182345169551</c:v>
                </c:pt>
                <c:pt idx="76">
                  <c:v>14.234651433443705</c:v>
                </c:pt>
                <c:pt idx="77">
                  <c:v>14.306182345169551</c:v>
                </c:pt>
                <c:pt idx="78">
                  <c:v>13.948527786540314</c:v>
                </c:pt>
                <c:pt idx="79">
                  <c:v>13.519342316185227</c:v>
                </c:pt>
                <c:pt idx="80">
                  <c:v>13.018625934104293</c:v>
                </c:pt>
                <c:pt idx="81">
                  <c:v>12.875564110652597</c:v>
                </c:pt>
                <c:pt idx="82">
                  <c:v>13.948527786540314</c:v>
                </c:pt>
                <c:pt idx="83">
                  <c:v>15.808331491412355</c:v>
                </c:pt>
                <c:pt idx="84">
                  <c:v>15.522207844508964</c:v>
                </c:pt>
                <c:pt idx="85">
                  <c:v>15.164553285879727</c:v>
                </c:pt>
                <c:pt idx="86">
                  <c:v>16.452109696944984</c:v>
                </c:pt>
                <c:pt idx="87">
                  <c:v>16.809764255574226</c:v>
                </c:pt>
                <c:pt idx="88">
                  <c:v>17.095887902477617</c:v>
                </c:pt>
                <c:pt idx="89">
                  <c:v>16.738233343848375</c:v>
                </c:pt>
                <c:pt idx="90">
                  <c:v>16.380578785219139</c:v>
                </c:pt>
                <c:pt idx="91">
                  <c:v>15.66526966796066</c:v>
                </c:pt>
                <c:pt idx="92">
                  <c:v>15.808331491412355</c:v>
                </c:pt>
                <c:pt idx="93">
                  <c:v>16.0229242265899</c:v>
                </c:pt>
                <c:pt idx="94">
                  <c:v>16.666702432122531</c:v>
                </c:pt>
                <c:pt idx="95">
                  <c:v>16.88129516730007</c:v>
                </c:pt>
                <c:pt idx="96">
                  <c:v>16.738233343848375</c:v>
                </c:pt>
                <c:pt idx="97">
                  <c:v>17.095887902477617</c:v>
                </c:pt>
                <c:pt idx="98">
                  <c:v>22.460706281916199</c:v>
                </c:pt>
                <c:pt idx="99">
                  <c:v>22.818360840545438</c:v>
                </c:pt>
                <c:pt idx="100">
                  <c:v>23.533669957803916</c:v>
                </c:pt>
                <c:pt idx="101">
                  <c:v>25.393473662675959</c:v>
                </c:pt>
                <c:pt idx="102">
                  <c:v>25.751128221305194</c:v>
                </c:pt>
                <c:pt idx="103">
                  <c:v>25.894190044756893</c:v>
                </c:pt>
                <c:pt idx="104">
                  <c:v>28.397771955161566</c:v>
                </c:pt>
                <c:pt idx="105">
                  <c:v>26.394906426837824</c:v>
                </c:pt>
                <c:pt idx="106">
                  <c:v>28.540833778613258</c:v>
                </c:pt>
                <c:pt idx="107">
                  <c:v>30.829822953840388</c:v>
                </c:pt>
                <c:pt idx="108">
                  <c:v>30.186044748307761</c:v>
                </c:pt>
                <c:pt idx="109">
                  <c:v>31.115946600743779</c:v>
                </c:pt>
                <c:pt idx="110">
                  <c:v>31.187477512469627</c:v>
                </c:pt>
                <c:pt idx="111">
                  <c:v>30.972884777292084</c:v>
                </c:pt>
                <c:pt idx="112">
                  <c:v>31.759724806276409</c:v>
                </c:pt>
                <c:pt idx="113">
                  <c:v>32.975750305615819</c:v>
                </c:pt>
                <c:pt idx="114">
                  <c:v>31.902786629728102</c:v>
                </c:pt>
                <c:pt idx="115">
                  <c:v>34.191775804955235</c:v>
                </c:pt>
                <c:pt idx="116">
                  <c:v>34.692492187036166</c:v>
                </c:pt>
                <c:pt idx="117">
                  <c:v>36.266172245004817</c:v>
                </c:pt>
                <c:pt idx="118">
                  <c:v>37.696790479521773</c:v>
                </c:pt>
                <c:pt idx="119">
                  <c:v>37.625259567795929</c:v>
                </c:pt>
                <c:pt idx="120">
                  <c:v>37.982914126425165</c:v>
                </c:pt>
                <c:pt idx="121">
                  <c:v>42.918547035508659</c:v>
                </c:pt>
                <c:pt idx="122">
                  <c:v>45.49365985763918</c:v>
                </c:pt>
                <c:pt idx="123">
                  <c:v>47.711118121140458</c:v>
                </c:pt>
                <c:pt idx="124">
                  <c:v>46.99580900388198</c:v>
                </c:pt>
                <c:pt idx="125">
                  <c:v>47.138870827333676</c:v>
                </c:pt>
                <c:pt idx="126">
                  <c:v>52.074503736417171</c:v>
                </c:pt>
                <c:pt idx="127">
                  <c:v>56.080234793064655</c:v>
                </c:pt>
                <c:pt idx="128">
                  <c:v>54.93574020545109</c:v>
                </c:pt>
                <c:pt idx="129">
                  <c:v>53.576652882659971</c:v>
                </c:pt>
                <c:pt idx="130">
                  <c:v>54.506554735095996</c:v>
                </c:pt>
                <c:pt idx="131">
                  <c:v>54.506554735095996</c:v>
                </c:pt>
                <c:pt idx="132">
                  <c:v>57.868507586210839</c:v>
                </c:pt>
                <c:pt idx="133">
                  <c:v>58.154631233114237</c:v>
                </c:pt>
                <c:pt idx="134">
                  <c:v>60.229027673163813</c:v>
                </c:pt>
                <c:pt idx="135">
                  <c:v>63.734042347730359</c:v>
                </c:pt>
                <c:pt idx="136">
                  <c:v>68.312020698184625</c:v>
                </c:pt>
                <c:pt idx="137">
                  <c:v>71.244788078944367</c:v>
                </c:pt>
                <c:pt idx="138">
                  <c:v>75.465111870769391</c:v>
                </c:pt>
                <c:pt idx="139">
                  <c:v>87.410774128985977</c:v>
                </c:pt>
                <c:pt idx="140">
                  <c:v>104.3636002080119</c:v>
                </c:pt>
                <c:pt idx="141">
                  <c:v>117.52528796556787</c:v>
                </c:pt>
                <c:pt idx="142">
                  <c:v>137.48241233707941</c:v>
                </c:pt>
                <c:pt idx="143">
                  <c:v>155.79432573889642</c:v>
                </c:pt>
                <c:pt idx="144">
                  <c:v>169.38519896680751</c:v>
                </c:pt>
                <c:pt idx="145">
                  <c:v>178.11197019736093</c:v>
                </c:pt>
                <c:pt idx="146">
                  <c:v>190.27222519075505</c:v>
                </c:pt>
                <c:pt idx="147">
                  <c:v>210.30088047399244</c:v>
                </c:pt>
                <c:pt idx="148">
                  <c:v>229.25657208134209</c:v>
                </c:pt>
                <c:pt idx="149">
                  <c:v>234.76445228423236</c:v>
                </c:pt>
                <c:pt idx="150">
                  <c:v>247.64001639488498</c:v>
                </c:pt>
                <c:pt idx="151">
                  <c:v>269.38541355954266</c:v>
                </c:pt>
                <c:pt idx="152">
                  <c:v>278.39830843699951</c:v>
                </c:pt>
                <c:pt idx="153">
                  <c:v>300.07217468993139</c:v>
                </c:pt>
                <c:pt idx="154">
                  <c:v>336.76753240529126</c:v>
                </c:pt>
                <c:pt idx="155">
                  <c:v>373.0337046502961</c:v>
                </c:pt>
                <c:pt idx="156">
                  <c:v>405.00802219175</c:v>
                </c:pt>
                <c:pt idx="157">
                  <c:v>431.33139770686205</c:v>
                </c:pt>
                <c:pt idx="158">
                  <c:v>440.20123076086713</c:v>
                </c:pt>
                <c:pt idx="159">
                  <c:v>445.85217278720916</c:v>
                </c:pt>
                <c:pt idx="160">
                  <c:v>464.59327165938123</c:v>
                </c:pt>
                <c:pt idx="161">
                  <c:v>510.6591788108272</c:v>
                </c:pt>
                <c:pt idx="162">
                  <c:v>553.57772584633585</c:v>
                </c:pt>
                <c:pt idx="163">
                  <c:v>563.59205348795456</c:v>
                </c:pt>
                <c:pt idx="164">
                  <c:v>604.50773499513946</c:v>
                </c:pt>
                <c:pt idx="165">
                  <c:v>650.07292576450448</c:v>
                </c:pt>
                <c:pt idx="166">
                  <c:v>679.90131595418302</c:v>
                </c:pt>
                <c:pt idx="167">
                  <c:v>695.70964744559535</c:v>
                </c:pt>
                <c:pt idx="168">
                  <c:v>761.4465553216495</c:v>
                </c:pt>
                <c:pt idx="169">
                  <c:v>779.4723450765631</c:v>
                </c:pt>
                <c:pt idx="170">
                  <c:v>817.16913555608483</c:v>
                </c:pt>
                <c:pt idx="171">
                  <c:v>897.35528760076022</c:v>
                </c:pt>
                <c:pt idx="172">
                  <c:v>945.28099845707823</c:v>
                </c:pt>
                <c:pt idx="173">
                  <c:v>969.24385388523717</c:v>
                </c:pt>
                <c:pt idx="174">
                  <c:v>999.85908410390005</c:v>
                </c:pt>
                <c:pt idx="175">
                  <c:v>1000.7174550446102</c:v>
                </c:pt>
                <c:pt idx="176">
                  <c:v>1023.7504086203332</c:v>
                </c:pt>
                <c:pt idx="177">
                  <c:v>1121.4616340378413</c:v>
                </c:pt>
                <c:pt idx="178">
                  <c:v>1089.5588474081133</c:v>
                </c:pt>
                <c:pt idx="179">
                  <c:v>1058.0852462487401</c:v>
                </c:pt>
                <c:pt idx="180">
                  <c:v>1076.6832832974605</c:v>
                </c:pt>
                <c:pt idx="181">
                  <c:v>1107.0839207809461</c:v>
                </c:pt>
                <c:pt idx="182">
                  <c:v>1080.9036070892857</c:v>
                </c:pt>
                <c:pt idx="183">
                  <c:v>1080.4028907072045</c:v>
                </c:pt>
                <c:pt idx="184">
                  <c:v>1019.8877393871375</c:v>
                </c:pt>
                <c:pt idx="185">
                  <c:v>1005.5815570419679</c:v>
                </c:pt>
                <c:pt idx="186">
                  <c:v>1004.8662479247095</c:v>
                </c:pt>
                <c:pt idx="187">
                  <c:v>970.10222482594736</c:v>
                </c:pt>
                <c:pt idx="188">
                  <c:v>967.81323565072034</c:v>
                </c:pt>
                <c:pt idx="189">
                  <c:v>962.01923180092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4AF-41D6-8405-081FF68E57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C$122:$C$344</c:f>
              <c:numCache>
                <c:formatCode>General</c:formatCode>
                <c:ptCount val="22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4AF-41D6-8405-081FF68E574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D$122:$D$344</c:f>
              <c:numCache>
                <c:formatCode>General</c:formatCode>
                <c:ptCount val="223"/>
                <c:pt idx="185" formatCode="0">
                  <c:v>1047.3556094898631</c:v>
                </c:pt>
                <c:pt idx="186" formatCode="0">
                  <c:v>1034.193921732307</c:v>
                </c:pt>
                <c:pt idx="187" formatCode="0">
                  <c:v>1019.0293684464273</c:v>
                </c:pt>
                <c:pt idx="188">
                  <c:v>1004.3655315426284</c:v>
                </c:pt>
                <c:pt idx="189">
                  <c:v>990.84618922644324</c:v>
                </c:pt>
                <c:pt idx="190">
                  <c:v>974.89479591157931</c:v>
                </c:pt>
                <c:pt idx="191">
                  <c:v>955.22379518697119</c:v>
                </c:pt>
                <c:pt idx="192">
                  <c:v>936.9834126968799</c:v>
                </c:pt>
                <c:pt idx="193">
                  <c:v>920.38824117648323</c:v>
                </c:pt>
                <c:pt idx="194">
                  <c:v>904.79450242024836</c:v>
                </c:pt>
                <c:pt idx="195">
                  <c:v>889.12923275228775</c:v>
                </c:pt>
                <c:pt idx="196">
                  <c:v>873.1778394374237</c:v>
                </c:pt>
                <c:pt idx="197">
                  <c:v>856.94032247565622</c:v>
                </c:pt>
                <c:pt idx="198">
                  <c:v>840.91739824906642</c:v>
                </c:pt>
                <c:pt idx="199">
                  <c:v>825.89590678663819</c:v>
                </c:pt>
                <c:pt idx="200">
                  <c:v>811.44666261801706</c:v>
                </c:pt>
                <c:pt idx="201">
                  <c:v>797.06894936112178</c:v>
                </c:pt>
                <c:pt idx="202">
                  <c:v>782.69123610422616</c:v>
                </c:pt>
                <c:pt idx="203">
                  <c:v>768.45658467078249</c:v>
                </c:pt>
                <c:pt idx="204">
                  <c:v>754.50805688424225</c:v>
                </c:pt>
                <c:pt idx="205">
                  <c:v>741.06024547978279</c:v>
                </c:pt>
                <c:pt idx="206">
                  <c:v>727.97008863395274</c:v>
                </c:pt>
                <c:pt idx="207">
                  <c:v>715.02299361157418</c:v>
                </c:pt>
                <c:pt idx="208">
                  <c:v>702.21896041264756</c:v>
                </c:pt>
                <c:pt idx="209">
                  <c:v>689.55798903717255</c:v>
                </c:pt>
                <c:pt idx="210">
                  <c:v>677.25467222032671</c:v>
                </c:pt>
                <c:pt idx="211">
                  <c:v>665.2374790503842</c:v>
                </c:pt>
                <c:pt idx="212">
                  <c:v>653.43487861561937</c:v>
                </c:pt>
                <c:pt idx="213">
                  <c:v>641.91840182775786</c:v>
                </c:pt>
                <c:pt idx="214">
                  <c:v>630.54498686334807</c:v>
                </c:pt>
                <c:pt idx="215">
                  <c:v>619.38616463411574</c:v>
                </c:pt>
                <c:pt idx="216">
                  <c:v>608.4419351400611</c:v>
                </c:pt>
                <c:pt idx="217">
                  <c:v>597.71229838118393</c:v>
                </c:pt>
                <c:pt idx="218">
                  <c:v>587.19725435748433</c:v>
                </c:pt>
                <c:pt idx="219">
                  <c:v>576.89680306896219</c:v>
                </c:pt>
                <c:pt idx="220">
                  <c:v>566.73941360389188</c:v>
                </c:pt>
                <c:pt idx="221">
                  <c:v>556.79661687399903</c:v>
                </c:pt>
                <c:pt idx="222">
                  <c:v>547.068412879283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AF-41D6-8405-081FF68E574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E$122:$E$344</c:f>
              <c:numCache>
                <c:formatCode>General</c:formatCode>
                <c:ptCount val="223"/>
                <c:pt idx="185" formatCode="0">
                  <c:v>1050.6460314292519</c:v>
                </c:pt>
                <c:pt idx="186" formatCode="0">
                  <c:v>1042.5630384042313</c:v>
                </c:pt>
                <c:pt idx="187" formatCode="0">
                  <c:v>1033.4070817033225</c:v>
                </c:pt>
                <c:pt idx="188">
                  <c:v>1025.3240886783019</c:v>
                </c:pt>
                <c:pt idx="189">
                  <c:v>1019.4585539167824</c:v>
                </c:pt>
                <c:pt idx="190">
                  <c:v>1012.5200554793752</c:v>
                </c:pt>
                <c:pt idx="191">
                  <c:v>1003.2210369550149</c:v>
                </c:pt>
                <c:pt idx="192">
                  <c:v>993.56436387202552</c:v>
                </c:pt>
                <c:pt idx="193">
                  <c:v>984.69453081802033</c:v>
                </c:pt>
                <c:pt idx="194">
                  <c:v>976.75459961645129</c:v>
                </c:pt>
                <c:pt idx="195">
                  <c:v>969.10079206178557</c:v>
                </c:pt>
                <c:pt idx="196">
                  <c:v>961.30392268366813</c:v>
                </c:pt>
                <c:pt idx="197">
                  <c:v>952.93480601174383</c:v>
                </c:pt>
                <c:pt idx="198">
                  <c:v>944.42262751636804</c:v>
                </c:pt>
                <c:pt idx="199">
                  <c:v>936.26810357962142</c:v>
                </c:pt>
                <c:pt idx="200">
                  <c:v>928.54276511322985</c:v>
                </c:pt>
                <c:pt idx="201">
                  <c:v>920.96048847028987</c:v>
                </c:pt>
                <c:pt idx="202">
                  <c:v>913.30668091562427</c:v>
                </c:pt>
                <c:pt idx="203">
                  <c:v>905.43828062578098</c:v>
                </c:pt>
                <c:pt idx="204">
                  <c:v>897.5698803359378</c:v>
                </c:pt>
                <c:pt idx="205">
                  <c:v>889.91607278127208</c:v>
                </c:pt>
                <c:pt idx="206">
                  <c:v>882.54838887350979</c:v>
                </c:pt>
                <c:pt idx="207">
                  <c:v>875.25223587747325</c:v>
                </c:pt>
                <c:pt idx="208">
                  <c:v>867.88455196971097</c:v>
                </c:pt>
                <c:pt idx="209">
                  <c:v>860.51686806194857</c:v>
                </c:pt>
                <c:pt idx="210">
                  <c:v>853.22071506591226</c:v>
                </c:pt>
                <c:pt idx="211">
                  <c:v>846.13915480505329</c:v>
                </c:pt>
                <c:pt idx="212">
                  <c:v>839.12912545592019</c:v>
                </c:pt>
                <c:pt idx="213">
                  <c:v>832.19062701851294</c:v>
                </c:pt>
                <c:pt idx="214">
                  <c:v>825.25212858110581</c:v>
                </c:pt>
                <c:pt idx="215">
                  <c:v>818.38516105542431</c:v>
                </c:pt>
                <c:pt idx="216">
                  <c:v>811.51819352974292</c:v>
                </c:pt>
                <c:pt idx="217">
                  <c:v>804.79428782751324</c:v>
                </c:pt>
                <c:pt idx="218">
                  <c:v>798.07038212528357</c:v>
                </c:pt>
                <c:pt idx="219">
                  <c:v>791.41800733477965</c:v>
                </c:pt>
                <c:pt idx="220">
                  <c:v>784.83716345600169</c:v>
                </c:pt>
                <c:pt idx="221">
                  <c:v>778.32785048894948</c:v>
                </c:pt>
                <c:pt idx="222">
                  <c:v>771.818537521897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4AF-41D6-8405-081FF68E574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F$122:$F$344</c:f>
              <c:numCache>
                <c:formatCode>General</c:formatCode>
                <c:ptCount val="223"/>
                <c:pt idx="185" formatCode="0">
                  <c:v>1057.0838134845783</c:v>
                </c:pt>
                <c:pt idx="186" formatCode="0">
                  <c:v>1059.0151481011762</c:v>
                </c:pt>
                <c:pt idx="187" formatCode="0">
                  <c:v>1061.8763845702101</c:v>
                </c:pt>
                <c:pt idx="188">
                  <c:v>1067.026610214471</c:v>
                </c:pt>
                <c:pt idx="189">
                  <c:v>1076.6832832974605</c:v>
                </c:pt>
                <c:pt idx="190">
                  <c:v>1088.2712909970478</c:v>
                </c:pt>
                <c:pt idx="191">
                  <c:v>1100.8607314607971</c:v>
                </c:pt>
                <c:pt idx="192">
                  <c:v>1110.0882190734314</c:v>
                </c:pt>
                <c:pt idx="193">
                  <c:v>1118.8149903039848</c:v>
                </c:pt>
                <c:pt idx="194">
                  <c:v>1128.6147252104261</c:v>
                </c:pt>
                <c:pt idx="195">
                  <c:v>1139.988140174836</c:v>
                </c:pt>
                <c:pt idx="196">
                  <c:v>1152.0053333447781</c:v>
                </c:pt>
                <c:pt idx="197">
                  <c:v>1163.4502792209139</c:v>
                </c:pt>
                <c:pt idx="198">
                  <c:v>1174.2514468915169</c:v>
                </c:pt>
                <c:pt idx="199">
                  <c:v>1184.6234290917648</c:v>
                </c:pt>
                <c:pt idx="200">
                  <c:v>1195.6391894975454</c:v>
                </c:pt>
                <c:pt idx="201">
                  <c:v>1207.3702590205844</c:v>
                </c:pt>
                <c:pt idx="202">
                  <c:v>1219.387452190527</c:v>
                </c:pt>
                <c:pt idx="203">
                  <c:v>1231.118521713566</c:v>
                </c:pt>
                <c:pt idx="204">
                  <c:v>1242.5634675897015</c:v>
                </c:pt>
                <c:pt idx="205">
                  <c:v>1254.0799443775632</c:v>
                </c:pt>
                <c:pt idx="206">
                  <c:v>1265.9540757240538</c:v>
                </c:pt>
                <c:pt idx="207">
                  <c:v>1278.1858616291738</c:v>
                </c:pt>
                <c:pt idx="208">
                  <c:v>1290.4891784460197</c:v>
                </c:pt>
                <c:pt idx="209">
                  <c:v>1302.7924952628655</c:v>
                </c:pt>
                <c:pt idx="210">
                  <c:v>1314.9527502562596</c:v>
                </c:pt>
                <c:pt idx="211">
                  <c:v>1327.3275979848311</c:v>
                </c:pt>
                <c:pt idx="212">
                  <c:v>1339.9170384485803</c:v>
                </c:pt>
                <c:pt idx="213">
                  <c:v>1352.6495407357811</c:v>
                </c:pt>
                <c:pt idx="214">
                  <c:v>1365.5251048464338</c:v>
                </c:pt>
                <c:pt idx="215">
                  <c:v>1378.4721998688124</c:v>
                </c:pt>
                <c:pt idx="216">
                  <c:v>1391.4192948911907</c:v>
                </c:pt>
                <c:pt idx="217">
                  <c:v>1404.5809826487468</c:v>
                </c:pt>
                <c:pt idx="218">
                  <c:v>1417.8857322297545</c:v>
                </c:pt>
                <c:pt idx="219">
                  <c:v>1431.3335436342138</c:v>
                </c:pt>
                <c:pt idx="220">
                  <c:v>1444.852885950399</c:v>
                </c:pt>
                <c:pt idx="221">
                  <c:v>1458.4437591783101</c:v>
                </c:pt>
                <c:pt idx="222">
                  <c:v>1472.1061633179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64AF-41D6-8405-081FF68E574F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G$122:$G$344</c:f>
              <c:numCache>
                <c:formatCode>General</c:formatCode>
                <c:ptCount val="223"/>
                <c:pt idx="185" formatCode="0">
                  <c:v>1060.3027045122415</c:v>
                </c:pt>
                <c:pt idx="186" formatCode="0">
                  <c:v>1067.3127338613747</c:v>
                </c:pt>
                <c:pt idx="187" formatCode="0">
                  <c:v>1076.2540978271056</c:v>
                </c:pt>
                <c:pt idx="188">
                  <c:v>1087.9851673501446</c:v>
                </c:pt>
                <c:pt idx="189">
                  <c:v>1105.581771634703</c:v>
                </c:pt>
                <c:pt idx="190">
                  <c:v>1126.754921505554</c:v>
                </c:pt>
                <c:pt idx="191">
                  <c:v>1150.7893078454388</c:v>
                </c:pt>
                <c:pt idx="192">
                  <c:v>1170.1741849231437</c:v>
                </c:pt>
                <c:pt idx="193">
                  <c:v>1188.5576292366866</c:v>
                </c:pt>
                <c:pt idx="194">
                  <c:v>1208.3716917847462</c:v>
                </c:pt>
                <c:pt idx="195">
                  <c:v>1230.9039289783884</c:v>
                </c:pt>
                <c:pt idx="196">
                  <c:v>1254.6521916713698</c:v>
                </c:pt>
                <c:pt idx="197">
                  <c:v>1278.1858616291738</c:v>
                </c:pt>
                <c:pt idx="198">
                  <c:v>1301.0757533814451</c:v>
                </c:pt>
                <c:pt idx="199">
                  <c:v>1323.3933978399095</c:v>
                </c:pt>
                <c:pt idx="200">
                  <c:v>1346.7840059742616</c:v>
                </c:pt>
                <c:pt idx="201">
                  <c:v>1371.4621705196794</c:v>
                </c:pt>
                <c:pt idx="202">
                  <c:v>1396.9271750940809</c:v>
                </c:pt>
                <c:pt idx="203">
                  <c:v>1422.320648756757</c:v>
                </c:pt>
                <c:pt idx="204">
                  <c:v>1447.642591507707</c:v>
                </c:pt>
                <c:pt idx="205">
                  <c:v>1473.2506579055607</c:v>
                </c:pt>
                <c:pt idx="206">
                  <c:v>1499.5740334206725</c:v>
                </c:pt>
                <c:pt idx="207">
                  <c:v>1526.8273107882205</c:v>
                </c:pt>
                <c:pt idx="208">
                  <c:v>1554.6528354495754</c:v>
                </c:pt>
                <c:pt idx="209">
                  <c:v>1582.6929528461078</c:v>
                </c:pt>
                <c:pt idx="210">
                  <c:v>1610.9476629778176</c:v>
                </c:pt>
                <c:pt idx="211">
                  <c:v>1639.7030894916081</c:v>
                </c:pt>
                <c:pt idx="212">
                  <c:v>1669.1022942109316</c:v>
                </c:pt>
                <c:pt idx="213">
                  <c:v>1699.2168080475135</c:v>
                </c:pt>
                <c:pt idx="214">
                  <c:v>1729.8320382661766</c:v>
                </c:pt>
                <c:pt idx="215">
                  <c:v>1760.8049230434685</c:v>
                </c:pt>
                <c:pt idx="216">
                  <c:v>1792.2785242028415</c:v>
                </c:pt>
                <c:pt idx="217">
                  <c:v>1824.3243726560213</c:v>
                </c:pt>
                <c:pt idx="218">
                  <c:v>1857.0139993147338</c:v>
                </c:pt>
                <c:pt idx="219">
                  <c:v>1890.3474041789791</c:v>
                </c:pt>
                <c:pt idx="220">
                  <c:v>1924.2530563370306</c:v>
                </c:pt>
                <c:pt idx="221">
                  <c:v>1958.6594248771635</c:v>
                </c:pt>
                <c:pt idx="222">
                  <c:v>1993.70957162282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64AF-41D6-8405-081FF68E57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B$397:$B$497</c:f>
              <c:numCache>
                <c:formatCode>0</c:formatCode>
                <c:ptCount val="101"/>
                <c:pt idx="0">
                  <c:v>80</c:v>
                </c:pt>
                <c:pt idx="1">
                  <c:v>39</c:v>
                </c:pt>
                <c:pt idx="2">
                  <c:v>17</c:v>
                </c:pt>
                <c:pt idx="3">
                  <c:v>60</c:v>
                </c:pt>
                <c:pt idx="4">
                  <c:v>120</c:v>
                </c:pt>
                <c:pt idx="5">
                  <c:v>76</c:v>
                </c:pt>
                <c:pt idx="6">
                  <c:v>99</c:v>
                </c:pt>
                <c:pt idx="7">
                  <c:v>102</c:v>
                </c:pt>
                <c:pt idx="8">
                  <c:v>18</c:v>
                </c:pt>
                <c:pt idx="9">
                  <c:v>18</c:v>
                </c:pt>
                <c:pt idx="10">
                  <c:v>123</c:v>
                </c:pt>
                <c:pt idx="11">
                  <c:v>177</c:v>
                </c:pt>
                <c:pt idx="12">
                  <c:v>178</c:v>
                </c:pt>
                <c:pt idx="13">
                  <c:v>122</c:v>
                </c:pt>
                <c:pt idx="14">
                  <c:v>183</c:v>
                </c:pt>
                <c:pt idx="15">
                  <c:v>80</c:v>
                </c:pt>
                <c:pt idx="16">
                  <c:v>44</c:v>
                </c:pt>
                <c:pt idx="17">
                  <c:v>185</c:v>
                </c:pt>
                <c:pt idx="18">
                  <c:v>281</c:v>
                </c:pt>
                <c:pt idx="19">
                  <c:v>342</c:v>
                </c:pt>
                <c:pt idx="20">
                  <c:v>292</c:v>
                </c:pt>
                <c:pt idx="21">
                  <c:v>414</c:v>
                </c:pt>
                <c:pt idx="22">
                  <c:v>153</c:v>
                </c:pt>
                <c:pt idx="23">
                  <c:v>48</c:v>
                </c:pt>
                <c:pt idx="24">
                  <c:v>304</c:v>
                </c:pt>
                <c:pt idx="25">
                  <c:v>548</c:v>
                </c:pt>
                <c:pt idx="26">
                  <c:v>557</c:v>
                </c:pt>
                <c:pt idx="27">
                  <c:v>162</c:v>
                </c:pt>
                <c:pt idx="28">
                  <c:v>447</c:v>
                </c:pt>
                <c:pt idx="29">
                  <c:v>285</c:v>
                </c:pt>
                <c:pt idx="30">
                  <c:v>113</c:v>
                </c:pt>
                <c:pt idx="31">
                  <c:v>536</c:v>
                </c:pt>
                <c:pt idx="32">
                  <c:v>832</c:v>
                </c:pt>
                <c:pt idx="33">
                  <c:v>804</c:v>
                </c:pt>
                <c:pt idx="34">
                  <c:v>678</c:v>
                </c:pt>
                <c:pt idx="35">
                  <c:v>702</c:v>
                </c:pt>
                <c:pt idx="36">
                  <c:v>293</c:v>
                </c:pt>
                <c:pt idx="37">
                  <c:v>97</c:v>
                </c:pt>
                <c:pt idx="38">
                  <c:v>588</c:v>
                </c:pt>
                <c:pt idx="39">
                  <c:v>1024</c:v>
                </c:pt>
                <c:pt idx="40">
                  <c:v>980</c:v>
                </c:pt>
                <c:pt idx="41">
                  <c:v>862</c:v>
                </c:pt>
                <c:pt idx="42">
                  <c:v>903</c:v>
                </c:pt>
                <c:pt idx="43">
                  <c:v>367</c:v>
                </c:pt>
                <c:pt idx="44">
                  <c:v>228</c:v>
                </c:pt>
                <c:pt idx="45">
                  <c:v>773</c:v>
                </c:pt>
                <c:pt idx="46">
                  <c:v>1419</c:v>
                </c:pt>
                <c:pt idx="47">
                  <c:v>778</c:v>
                </c:pt>
                <c:pt idx="48">
                  <c:v>824</c:v>
                </c:pt>
                <c:pt idx="49">
                  <c:v>1747</c:v>
                </c:pt>
                <c:pt idx="50">
                  <c:v>805</c:v>
                </c:pt>
                <c:pt idx="51">
                  <c:v>239</c:v>
                </c:pt>
                <c:pt idx="52">
                  <c:v>1144</c:v>
                </c:pt>
                <c:pt idx="53">
                  <c:v>1905</c:v>
                </c:pt>
                <c:pt idx="54">
                  <c:v>1180</c:v>
                </c:pt>
                <c:pt idx="55">
                  <c:v>1732</c:v>
                </c:pt>
                <c:pt idx="56">
                  <c:v>1560</c:v>
                </c:pt>
                <c:pt idx="57">
                  <c:v>714</c:v>
                </c:pt>
                <c:pt idx="58">
                  <c:v>202</c:v>
                </c:pt>
                <c:pt idx="59">
                  <c:v>1252</c:v>
                </c:pt>
                <c:pt idx="60">
                  <c:v>1517</c:v>
                </c:pt>
                <c:pt idx="61">
                  <c:v>1377</c:v>
                </c:pt>
                <c:pt idx="62">
                  <c:v>1299</c:v>
                </c:pt>
                <c:pt idx="63">
                  <c:v>1295</c:v>
                </c:pt>
                <c:pt idx="64">
                  <c:v>575</c:v>
                </c:pt>
                <c:pt idx="65">
                  <c:v>209</c:v>
                </c:pt>
                <c:pt idx="66">
                  <c:v>1018</c:v>
                </c:pt>
                <c:pt idx="67">
                  <c:v>1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93-4C53-BEF6-F74E1133C6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C$397:$C$497</c:f>
              <c:numCache>
                <c:formatCode>General</c:formatCode>
                <c:ptCount val="10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493-4C53-BEF6-F74E1133C63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D$397:$D$497</c:f>
              <c:numCache>
                <c:formatCode>General</c:formatCode>
                <c:ptCount val="101"/>
                <c:pt idx="63">
                  <c:v>1292</c:v>
                </c:pt>
                <c:pt idx="64">
                  <c:v>1256</c:v>
                </c:pt>
                <c:pt idx="65">
                  <c:v>1229</c:v>
                </c:pt>
                <c:pt idx="66">
                  <c:v>1214</c:v>
                </c:pt>
                <c:pt idx="67">
                  <c:v>1197</c:v>
                </c:pt>
                <c:pt idx="68">
                  <c:v>1180</c:v>
                </c:pt>
                <c:pt idx="69">
                  <c:v>1158</c:v>
                </c:pt>
                <c:pt idx="70">
                  <c:v>1130</c:v>
                </c:pt>
                <c:pt idx="71">
                  <c:v>1108</c:v>
                </c:pt>
                <c:pt idx="72">
                  <c:v>1090</c:v>
                </c:pt>
                <c:pt idx="73">
                  <c:v>1074</c:v>
                </c:pt>
                <c:pt idx="74">
                  <c:v>1055</c:v>
                </c:pt>
                <c:pt idx="75">
                  <c:v>1035</c:v>
                </c:pt>
                <c:pt idx="76">
                  <c:v>1014</c:v>
                </c:pt>
                <c:pt idx="77">
                  <c:v>996</c:v>
                </c:pt>
                <c:pt idx="78">
                  <c:v>979</c:v>
                </c:pt>
                <c:pt idx="79">
                  <c:v>962</c:v>
                </c:pt>
                <c:pt idx="80">
                  <c:v>945</c:v>
                </c:pt>
                <c:pt idx="81">
                  <c:v>928</c:v>
                </c:pt>
                <c:pt idx="82">
                  <c:v>911</c:v>
                </c:pt>
                <c:pt idx="83">
                  <c:v>894</c:v>
                </c:pt>
                <c:pt idx="84">
                  <c:v>879</c:v>
                </c:pt>
                <c:pt idx="85">
                  <c:v>863</c:v>
                </c:pt>
                <c:pt idx="86">
                  <c:v>848</c:v>
                </c:pt>
                <c:pt idx="87">
                  <c:v>833</c:v>
                </c:pt>
                <c:pt idx="88">
                  <c:v>818</c:v>
                </c:pt>
                <c:pt idx="89">
                  <c:v>803</c:v>
                </c:pt>
                <c:pt idx="90">
                  <c:v>789</c:v>
                </c:pt>
                <c:pt idx="91">
                  <c:v>775</c:v>
                </c:pt>
                <c:pt idx="92">
                  <c:v>762</c:v>
                </c:pt>
                <c:pt idx="93">
                  <c:v>748</c:v>
                </c:pt>
                <c:pt idx="94">
                  <c:v>735</c:v>
                </c:pt>
                <c:pt idx="95">
                  <c:v>722</c:v>
                </c:pt>
                <c:pt idx="96">
                  <c:v>710</c:v>
                </c:pt>
                <c:pt idx="97">
                  <c:v>697</c:v>
                </c:pt>
                <c:pt idx="98">
                  <c:v>685</c:v>
                </c:pt>
                <c:pt idx="99">
                  <c:v>673</c:v>
                </c:pt>
                <c:pt idx="100">
                  <c:v>6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493-4C53-BEF6-F74E1133C63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E$397:$E$497</c:f>
              <c:numCache>
                <c:formatCode>General</c:formatCode>
                <c:ptCount val="101"/>
                <c:pt idx="63">
                  <c:v>1321</c:v>
                </c:pt>
                <c:pt idx="64">
                  <c:v>1301</c:v>
                </c:pt>
                <c:pt idx="65">
                  <c:v>1283</c:v>
                </c:pt>
                <c:pt idx="66">
                  <c:v>1273</c:v>
                </c:pt>
                <c:pt idx="67">
                  <c:v>1265</c:v>
                </c:pt>
                <c:pt idx="68">
                  <c:v>1260</c:v>
                </c:pt>
                <c:pt idx="69">
                  <c:v>1250</c:v>
                </c:pt>
                <c:pt idx="70">
                  <c:v>1236</c:v>
                </c:pt>
                <c:pt idx="71">
                  <c:v>1222</c:v>
                </c:pt>
                <c:pt idx="72">
                  <c:v>1212</c:v>
                </c:pt>
                <c:pt idx="73">
                  <c:v>1204</c:v>
                </c:pt>
                <c:pt idx="74">
                  <c:v>1196</c:v>
                </c:pt>
                <c:pt idx="75">
                  <c:v>1185</c:v>
                </c:pt>
                <c:pt idx="76">
                  <c:v>1174</c:v>
                </c:pt>
                <c:pt idx="77">
                  <c:v>1163</c:v>
                </c:pt>
                <c:pt idx="78">
                  <c:v>1153</c:v>
                </c:pt>
                <c:pt idx="79">
                  <c:v>1145</c:v>
                </c:pt>
                <c:pt idx="80">
                  <c:v>1136</c:v>
                </c:pt>
                <c:pt idx="81">
                  <c:v>1126</c:v>
                </c:pt>
                <c:pt idx="82">
                  <c:v>1116</c:v>
                </c:pt>
                <c:pt idx="83">
                  <c:v>1106</c:v>
                </c:pt>
                <c:pt idx="84">
                  <c:v>1097</c:v>
                </c:pt>
                <c:pt idx="85">
                  <c:v>1088</c:v>
                </c:pt>
                <c:pt idx="86">
                  <c:v>1079</c:v>
                </c:pt>
                <c:pt idx="87">
                  <c:v>1070</c:v>
                </c:pt>
                <c:pt idx="88">
                  <c:v>1061</c:v>
                </c:pt>
                <c:pt idx="89">
                  <c:v>1052</c:v>
                </c:pt>
                <c:pt idx="90">
                  <c:v>1043</c:v>
                </c:pt>
                <c:pt idx="91">
                  <c:v>1035</c:v>
                </c:pt>
                <c:pt idx="92">
                  <c:v>1026</c:v>
                </c:pt>
                <c:pt idx="93">
                  <c:v>1017</c:v>
                </c:pt>
                <c:pt idx="94">
                  <c:v>1009</c:v>
                </c:pt>
                <c:pt idx="95">
                  <c:v>1001</c:v>
                </c:pt>
                <c:pt idx="96">
                  <c:v>992</c:v>
                </c:pt>
                <c:pt idx="97">
                  <c:v>984</c:v>
                </c:pt>
                <c:pt idx="98">
                  <c:v>976</c:v>
                </c:pt>
                <c:pt idx="99">
                  <c:v>968</c:v>
                </c:pt>
                <c:pt idx="100">
                  <c:v>9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493-4C53-BEF6-F74E1133C63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F$397:$F$497</c:f>
              <c:numCache>
                <c:formatCode>General</c:formatCode>
                <c:ptCount val="101"/>
                <c:pt idx="63">
                  <c:v>1379</c:v>
                </c:pt>
                <c:pt idx="64">
                  <c:v>1391</c:v>
                </c:pt>
                <c:pt idx="65">
                  <c:v>1391</c:v>
                </c:pt>
                <c:pt idx="66">
                  <c:v>1390</c:v>
                </c:pt>
                <c:pt idx="67">
                  <c:v>1404</c:v>
                </c:pt>
                <c:pt idx="68">
                  <c:v>1426</c:v>
                </c:pt>
                <c:pt idx="69">
                  <c:v>1445</c:v>
                </c:pt>
                <c:pt idx="70">
                  <c:v>1461</c:v>
                </c:pt>
                <c:pt idx="71">
                  <c:v>1468</c:v>
                </c:pt>
                <c:pt idx="72">
                  <c:v>1478</c:v>
                </c:pt>
                <c:pt idx="73">
                  <c:v>1492</c:v>
                </c:pt>
                <c:pt idx="74">
                  <c:v>1511</c:v>
                </c:pt>
                <c:pt idx="75">
                  <c:v>1528</c:v>
                </c:pt>
                <c:pt idx="76">
                  <c:v>1542</c:v>
                </c:pt>
                <c:pt idx="77">
                  <c:v>1554</c:v>
                </c:pt>
                <c:pt idx="78">
                  <c:v>1567</c:v>
                </c:pt>
                <c:pt idx="79">
                  <c:v>1583</c:v>
                </c:pt>
                <c:pt idx="80">
                  <c:v>1599</c:v>
                </c:pt>
                <c:pt idx="81">
                  <c:v>1616</c:v>
                </c:pt>
                <c:pt idx="82">
                  <c:v>1630</c:v>
                </c:pt>
                <c:pt idx="83">
                  <c:v>1645</c:v>
                </c:pt>
                <c:pt idx="84">
                  <c:v>1660</c:v>
                </c:pt>
                <c:pt idx="85">
                  <c:v>1676</c:v>
                </c:pt>
                <c:pt idx="86">
                  <c:v>1693</c:v>
                </c:pt>
                <c:pt idx="87">
                  <c:v>1709</c:v>
                </c:pt>
                <c:pt idx="88">
                  <c:v>1725</c:v>
                </c:pt>
                <c:pt idx="89">
                  <c:v>1741</c:v>
                </c:pt>
                <c:pt idx="90">
                  <c:v>1757</c:v>
                </c:pt>
                <c:pt idx="91">
                  <c:v>1774</c:v>
                </c:pt>
                <c:pt idx="92">
                  <c:v>1791</c:v>
                </c:pt>
                <c:pt idx="93">
                  <c:v>1808</c:v>
                </c:pt>
                <c:pt idx="94">
                  <c:v>1825</c:v>
                </c:pt>
                <c:pt idx="95">
                  <c:v>1842</c:v>
                </c:pt>
                <c:pt idx="96">
                  <c:v>1859</c:v>
                </c:pt>
                <c:pt idx="97">
                  <c:v>1877</c:v>
                </c:pt>
                <c:pt idx="98">
                  <c:v>1894</c:v>
                </c:pt>
                <c:pt idx="99">
                  <c:v>1912</c:v>
                </c:pt>
                <c:pt idx="100">
                  <c:v>19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493-4C53-BEF6-F74E1133C637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G$397:$G$497</c:f>
              <c:numCache>
                <c:formatCode>General</c:formatCode>
                <c:ptCount val="101"/>
                <c:pt idx="63">
                  <c:v>1408</c:v>
                </c:pt>
                <c:pt idx="64">
                  <c:v>1436</c:v>
                </c:pt>
                <c:pt idx="65">
                  <c:v>1445</c:v>
                </c:pt>
                <c:pt idx="66">
                  <c:v>1449</c:v>
                </c:pt>
                <c:pt idx="67">
                  <c:v>1475</c:v>
                </c:pt>
                <c:pt idx="68">
                  <c:v>1511</c:v>
                </c:pt>
                <c:pt idx="69">
                  <c:v>1548</c:v>
                </c:pt>
                <c:pt idx="70">
                  <c:v>1581</c:v>
                </c:pt>
                <c:pt idx="71">
                  <c:v>1600</c:v>
                </c:pt>
                <c:pt idx="72">
                  <c:v>1622</c:v>
                </c:pt>
                <c:pt idx="73">
                  <c:v>1650</c:v>
                </c:pt>
                <c:pt idx="74">
                  <c:v>1687</c:v>
                </c:pt>
                <c:pt idx="75">
                  <c:v>1721</c:v>
                </c:pt>
                <c:pt idx="76">
                  <c:v>1752</c:v>
                </c:pt>
                <c:pt idx="77">
                  <c:v>1780</c:v>
                </c:pt>
                <c:pt idx="78">
                  <c:v>1809</c:v>
                </c:pt>
                <c:pt idx="79">
                  <c:v>1842</c:v>
                </c:pt>
                <c:pt idx="80">
                  <c:v>1878</c:v>
                </c:pt>
                <c:pt idx="81">
                  <c:v>1914</c:v>
                </c:pt>
                <c:pt idx="82">
                  <c:v>1947</c:v>
                </c:pt>
                <c:pt idx="83">
                  <c:v>1980</c:v>
                </c:pt>
                <c:pt idx="84">
                  <c:v>2015</c:v>
                </c:pt>
                <c:pt idx="85">
                  <c:v>2052</c:v>
                </c:pt>
                <c:pt idx="86">
                  <c:v>2090</c:v>
                </c:pt>
                <c:pt idx="87">
                  <c:v>2128</c:v>
                </c:pt>
                <c:pt idx="88">
                  <c:v>2166</c:v>
                </c:pt>
                <c:pt idx="89">
                  <c:v>2204</c:v>
                </c:pt>
                <c:pt idx="90">
                  <c:v>2243</c:v>
                </c:pt>
                <c:pt idx="91">
                  <c:v>2284</c:v>
                </c:pt>
                <c:pt idx="92">
                  <c:v>2325</c:v>
                </c:pt>
                <c:pt idx="93">
                  <c:v>2367</c:v>
                </c:pt>
                <c:pt idx="94">
                  <c:v>2409</c:v>
                </c:pt>
                <c:pt idx="95">
                  <c:v>2452</c:v>
                </c:pt>
                <c:pt idx="96">
                  <c:v>2496</c:v>
                </c:pt>
                <c:pt idx="97">
                  <c:v>2540</c:v>
                </c:pt>
                <c:pt idx="98">
                  <c:v>2586</c:v>
                </c:pt>
                <c:pt idx="99">
                  <c:v>2632</c:v>
                </c:pt>
                <c:pt idx="100">
                  <c:v>26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493-4C53-BEF6-F74E1133C6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4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H$122:$H$344</c:f>
              <c:numCache>
                <c:formatCode>0</c:formatCode>
                <c:ptCount val="22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  <c:pt idx="188" formatCode="General">
                  <c:v>100</c:v>
                </c:pt>
                <c:pt idx="189" formatCode="General">
                  <c:v>100</c:v>
                </c:pt>
                <c:pt idx="190" formatCode="General">
                  <c:v>100</c:v>
                </c:pt>
                <c:pt idx="191" formatCode="General">
                  <c:v>100</c:v>
                </c:pt>
                <c:pt idx="192" formatCode="General">
                  <c:v>100</c:v>
                </c:pt>
                <c:pt idx="193" formatCode="General">
                  <c:v>100</c:v>
                </c:pt>
                <c:pt idx="194" formatCode="General">
                  <c:v>100</c:v>
                </c:pt>
                <c:pt idx="195" formatCode="General">
                  <c:v>100</c:v>
                </c:pt>
                <c:pt idx="196" formatCode="General">
                  <c:v>100</c:v>
                </c:pt>
                <c:pt idx="197" formatCode="General">
                  <c:v>100</c:v>
                </c:pt>
                <c:pt idx="198" formatCode="General">
                  <c:v>100</c:v>
                </c:pt>
                <c:pt idx="199" formatCode="General">
                  <c:v>100</c:v>
                </c:pt>
                <c:pt idx="200" formatCode="General">
                  <c:v>100</c:v>
                </c:pt>
                <c:pt idx="201" formatCode="General">
                  <c:v>100</c:v>
                </c:pt>
                <c:pt idx="202" formatCode="General">
                  <c:v>100</c:v>
                </c:pt>
                <c:pt idx="203" formatCode="General">
                  <c:v>100</c:v>
                </c:pt>
                <c:pt idx="204" formatCode="General">
                  <c:v>100</c:v>
                </c:pt>
                <c:pt idx="205" formatCode="General">
                  <c:v>100</c:v>
                </c:pt>
                <c:pt idx="206" formatCode="General">
                  <c:v>100</c:v>
                </c:pt>
                <c:pt idx="207" formatCode="General">
                  <c:v>100</c:v>
                </c:pt>
                <c:pt idx="208" formatCode="General">
                  <c:v>100</c:v>
                </c:pt>
                <c:pt idx="209" formatCode="General">
                  <c:v>100</c:v>
                </c:pt>
                <c:pt idx="210" formatCode="General">
                  <c:v>100</c:v>
                </c:pt>
                <c:pt idx="211" formatCode="General">
                  <c:v>100</c:v>
                </c:pt>
                <c:pt idx="212" formatCode="General">
                  <c:v>100</c:v>
                </c:pt>
                <c:pt idx="213" formatCode="General">
                  <c:v>100</c:v>
                </c:pt>
                <c:pt idx="214" formatCode="General">
                  <c:v>100</c:v>
                </c:pt>
                <c:pt idx="215" formatCode="General">
                  <c:v>100</c:v>
                </c:pt>
                <c:pt idx="216" formatCode="General">
                  <c:v>100</c:v>
                </c:pt>
                <c:pt idx="217" formatCode="General">
                  <c:v>100</c:v>
                </c:pt>
                <c:pt idx="218" formatCode="General">
                  <c:v>100</c:v>
                </c:pt>
                <c:pt idx="219" formatCode="General">
                  <c:v>100</c:v>
                </c:pt>
                <c:pt idx="220" formatCode="General">
                  <c:v>100</c:v>
                </c:pt>
                <c:pt idx="221" formatCode="General">
                  <c:v>100</c:v>
                </c:pt>
                <c:pt idx="222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2F-4BD0-9093-BC5C0FF99C02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I$122:$I$344</c:f>
              <c:numCache>
                <c:formatCode>0</c:formatCode>
                <c:ptCount val="22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  <c:pt idx="188" formatCode="General">
                  <c:v>50</c:v>
                </c:pt>
                <c:pt idx="189" formatCode="General">
                  <c:v>50</c:v>
                </c:pt>
                <c:pt idx="190" formatCode="General">
                  <c:v>50</c:v>
                </c:pt>
                <c:pt idx="191" formatCode="General">
                  <c:v>50</c:v>
                </c:pt>
                <c:pt idx="192" formatCode="General">
                  <c:v>50</c:v>
                </c:pt>
                <c:pt idx="193" formatCode="General">
                  <c:v>50</c:v>
                </c:pt>
                <c:pt idx="194" formatCode="General">
                  <c:v>50</c:v>
                </c:pt>
                <c:pt idx="195" formatCode="General">
                  <c:v>50</c:v>
                </c:pt>
                <c:pt idx="196" formatCode="General">
                  <c:v>50</c:v>
                </c:pt>
                <c:pt idx="197" formatCode="General">
                  <c:v>50</c:v>
                </c:pt>
                <c:pt idx="198" formatCode="General">
                  <c:v>50</c:v>
                </c:pt>
                <c:pt idx="199" formatCode="General">
                  <c:v>50</c:v>
                </c:pt>
                <c:pt idx="200" formatCode="General">
                  <c:v>50</c:v>
                </c:pt>
                <c:pt idx="201" formatCode="General">
                  <c:v>50</c:v>
                </c:pt>
                <c:pt idx="202" formatCode="General">
                  <c:v>50</c:v>
                </c:pt>
                <c:pt idx="203" formatCode="General">
                  <c:v>50</c:v>
                </c:pt>
                <c:pt idx="204" formatCode="General">
                  <c:v>50</c:v>
                </c:pt>
                <c:pt idx="205" formatCode="General">
                  <c:v>50</c:v>
                </c:pt>
                <c:pt idx="206" formatCode="General">
                  <c:v>50</c:v>
                </c:pt>
                <c:pt idx="207" formatCode="General">
                  <c:v>50</c:v>
                </c:pt>
                <c:pt idx="208" formatCode="General">
                  <c:v>50</c:v>
                </c:pt>
                <c:pt idx="209" formatCode="General">
                  <c:v>50</c:v>
                </c:pt>
                <c:pt idx="210" formatCode="General">
                  <c:v>50</c:v>
                </c:pt>
                <c:pt idx="211" formatCode="General">
                  <c:v>50</c:v>
                </c:pt>
                <c:pt idx="212" formatCode="General">
                  <c:v>50</c:v>
                </c:pt>
                <c:pt idx="213" formatCode="General">
                  <c:v>50</c:v>
                </c:pt>
                <c:pt idx="214" formatCode="General">
                  <c:v>50</c:v>
                </c:pt>
                <c:pt idx="215" formatCode="General">
                  <c:v>50</c:v>
                </c:pt>
                <c:pt idx="216" formatCode="General">
                  <c:v>50</c:v>
                </c:pt>
                <c:pt idx="217" formatCode="General">
                  <c:v>50</c:v>
                </c:pt>
                <c:pt idx="218" formatCode="General">
                  <c:v>50</c:v>
                </c:pt>
                <c:pt idx="219" formatCode="General">
                  <c:v>50</c:v>
                </c:pt>
                <c:pt idx="220" formatCode="General">
                  <c:v>50</c:v>
                </c:pt>
                <c:pt idx="221" formatCode="General">
                  <c:v>50</c:v>
                </c:pt>
                <c:pt idx="222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12F-4BD0-9093-BC5C0FF99C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B$122:$B$344</c:f>
              <c:numCache>
                <c:formatCode>0</c:formatCode>
                <c:ptCount val="223"/>
                <c:pt idx="0">
                  <c:v>35.117651903267962</c:v>
                </c:pt>
                <c:pt idx="1">
                  <c:v>34.80687622270807</c:v>
                </c:pt>
                <c:pt idx="2">
                  <c:v>40.400838472786155</c:v>
                </c:pt>
                <c:pt idx="3">
                  <c:v>35.894591104667697</c:v>
                </c:pt>
                <c:pt idx="4">
                  <c:v>37.137693826907274</c:v>
                </c:pt>
                <c:pt idx="5">
                  <c:v>36.516142465787482</c:v>
                </c:pt>
                <c:pt idx="6">
                  <c:v>34.185324861588278</c:v>
                </c:pt>
                <c:pt idx="7">
                  <c:v>38.225408708866894</c:v>
                </c:pt>
                <c:pt idx="8">
                  <c:v>37.603857347747109</c:v>
                </c:pt>
                <c:pt idx="9">
                  <c:v>28.280586930950303</c:v>
                </c:pt>
                <c:pt idx="10">
                  <c:v>27.969811250390414</c:v>
                </c:pt>
                <c:pt idx="11">
                  <c:v>26.415932847590941</c:v>
                </c:pt>
                <c:pt idx="12">
                  <c:v>26.105157167031052</c:v>
                </c:pt>
                <c:pt idx="13">
                  <c:v>25.483605805911264</c:v>
                </c:pt>
                <c:pt idx="14">
                  <c:v>20.200419236393078</c:v>
                </c:pt>
                <c:pt idx="15">
                  <c:v>17.714213791913927</c:v>
                </c:pt>
                <c:pt idx="16">
                  <c:v>17.248050271074089</c:v>
                </c:pt>
                <c:pt idx="17">
                  <c:v>13.518742104355367</c:v>
                </c:pt>
                <c:pt idx="18">
                  <c:v>13.052578583515526</c:v>
                </c:pt>
                <c:pt idx="19">
                  <c:v>13.207966423795471</c:v>
                </c:pt>
                <c:pt idx="20">
                  <c:v>11.343312340436112</c:v>
                </c:pt>
                <c:pt idx="21">
                  <c:v>8.7017190556770174</c:v>
                </c:pt>
                <c:pt idx="22">
                  <c:v>7.1478406528775498</c:v>
                </c:pt>
                <c:pt idx="23">
                  <c:v>4.9724108889582954</c:v>
                </c:pt>
                <c:pt idx="24">
                  <c:v>4.0400838472786154</c:v>
                </c:pt>
                <c:pt idx="25">
                  <c:v>3.4185324861588278</c:v>
                </c:pt>
                <c:pt idx="26">
                  <c:v>3.2631446458788815</c:v>
                </c:pt>
                <c:pt idx="27">
                  <c:v>2.9523689653189882</c:v>
                </c:pt>
                <c:pt idx="28">
                  <c:v>2.330817604199201</c:v>
                </c:pt>
                <c:pt idx="29">
                  <c:v>2.0200419236393077</c:v>
                </c:pt>
                <c:pt idx="30">
                  <c:v>2.330817604199201</c:v>
                </c:pt>
                <c:pt idx="31">
                  <c:v>2.9523689653189882</c:v>
                </c:pt>
                <c:pt idx="32">
                  <c:v>3.4185324861588278</c:v>
                </c:pt>
                <c:pt idx="33">
                  <c:v>3.7293081667187216</c:v>
                </c:pt>
                <c:pt idx="34">
                  <c:v>3.5739203264387749</c:v>
                </c:pt>
                <c:pt idx="35">
                  <c:v>3.4185324861588278</c:v>
                </c:pt>
                <c:pt idx="36">
                  <c:v>3.7293081667187216</c:v>
                </c:pt>
                <c:pt idx="37">
                  <c:v>3.7293081667187216</c:v>
                </c:pt>
                <c:pt idx="38">
                  <c:v>4.5062473681184549</c:v>
                </c:pt>
                <c:pt idx="39">
                  <c:v>4.6616352083984021</c:v>
                </c:pt>
                <c:pt idx="40">
                  <c:v>4.3508595278385087</c:v>
                </c:pt>
                <c:pt idx="41">
                  <c:v>5.4385744097981359</c:v>
                </c:pt>
                <c:pt idx="42">
                  <c:v>6.8370649723176555</c:v>
                </c:pt>
                <c:pt idx="43">
                  <c:v>7.1478406528775498</c:v>
                </c:pt>
                <c:pt idx="44">
                  <c:v>7.303228493157496</c:v>
                </c:pt>
                <c:pt idx="45">
                  <c:v>6.8370649723176555</c:v>
                </c:pt>
                <c:pt idx="46">
                  <c:v>6.8370649723176555</c:v>
                </c:pt>
                <c:pt idx="47">
                  <c:v>6.9924528125976035</c:v>
                </c:pt>
                <c:pt idx="48">
                  <c:v>7.303228493157496</c:v>
                </c:pt>
                <c:pt idx="49">
                  <c:v>6.3709014514778159</c:v>
                </c:pt>
                <c:pt idx="50">
                  <c:v>7.303228493157496</c:v>
                </c:pt>
                <c:pt idx="51">
                  <c:v>7.7693920139973374</c:v>
                </c:pt>
                <c:pt idx="52">
                  <c:v>8.0801676945572307</c:v>
                </c:pt>
                <c:pt idx="53">
                  <c:v>7.7693920139973374</c:v>
                </c:pt>
                <c:pt idx="54">
                  <c:v>7.9247798542772836</c:v>
                </c:pt>
                <c:pt idx="55">
                  <c:v>7.1478406528775498</c:v>
                </c:pt>
                <c:pt idx="56">
                  <c:v>9.1678825765168579</c:v>
                </c:pt>
                <c:pt idx="57">
                  <c:v>9.0124947362369099</c:v>
                </c:pt>
                <c:pt idx="58">
                  <c:v>9.0124947362369099</c:v>
                </c:pt>
                <c:pt idx="59">
                  <c:v>8.8571068959569637</c:v>
                </c:pt>
                <c:pt idx="60">
                  <c:v>8.7017190556770174</c:v>
                </c:pt>
                <c:pt idx="61">
                  <c:v>8.5463312153970694</c:v>
                </c:pt>
                <c:pt idx="62">
                  <c:v>9.0124947362369099</c:v>
                </c:pt>
                <c:pt idx="63">
                  <c:v>7.7693920139973374</c:v>
                </c:pt>
                <c:pt idx="64">
                  <c:v>8.3909433751171232</c:v>
                </c:pt>
                <c:pt idx="65">
                  <c:v>9.9448217779165908</c:v>
                </c:pt>
                <c:pt idx="66">
                  <c:v>10.877148819596272</c:v>
                </c:pt>
                <c:pt idx="67">
                  <c:v>11.498700180716058</c:v>
                </c:pt>
                <c:pt idx="68">
                  <c:v>11.809475861275953</c:v>
                </c:pt>
                <c:pt idx="69">
                  <c:v>12.431027222395739</c:v>
                </c:pt>
                <c:pt idx="70">
                  <c:v>14.451069146035048</c:v>
                </c:pt>
                <c:pt idx="71">
                  <c:v>15.383396187714727</c:v>
                </c:pt>
                <c:pt idx="72">
                  <c:v>14.606456986314992</c:v>
                </c:pt>
                <c:pt idx="73">
                  <c:v>14.76184482659494</c:v>
                </c:pt>
                <c:pt idx="74">
                  <c:v>15.694171868274619</c:v>
                </c:pt>
                <c:pt idx="75">
                  <c:v>15.538784027994675</c:v>
                </c:pt>
                <c:pt idx="76">
                  <c:v>15.849559708554567</c:v>
                </c:pt>
                <c:pt idx="77">
                  <c:v>17.558825951633981</c:v>
                </c:pt>
                <c:pt idx="78">
                  <c:v>17.558825951633981</c:v>
                </c:pt>
                <c:pt idx="79">
                  <c:v>17.558825951633981</c:v>
                </c:pt>
                <c:pt idx="80">
                  <c:v>17.869601632193874</c:v>
                </c:pt>
                <c:pt idx="81">
                  <c:v>17.092662430794139</c:v>
                </c:pt>
                <c:pt idx="82">
                  <c:v>17.714213791913927</c:v>
                </c:pt>
                <c:pt idx="83">
                  <c:v>17.714213791913927</c:v>
                </c:pt>
                <c:pt idx="84">
                  <c:v>16.004947548834515</c:v>
                </c:pt>
                <c:pt idx="85">
                  <c:v>14.76184482659494</c:v>
                </c:pt>
                <c:pt idx="86">
                  <c:v>14.917232666874886</c:v>
                </c:pt>
                <c:pt idx="87">
                  <c:v>14.451069146035048</c:v>
                </c:pt>
                <c:pt idx="88">
                  <c:v>14.2956813057551</c:v>
                </c:pt>
                <c:pt idx="89">
                  <c:v>14.140293465475152</c:v>
                </c:pt>
                <c:pt idx="90">
                  <c:v>15.228008347434779</c:v>
                </c:pt>
                <c:pt idx="91">
                  <c:v>16.6264989099543</c:v>
                </c:pt>
                <c:pt idx="92">
                  <c:v>17.869601632193874</c:v>
                </c:pt>
                <c:pt idx="93">
                  <c:v>19.423480034993339</c:v>
                </c:pt>
                <c:pt idx="94">
                  <c:v>20.51119491695297</c:v>
                </c:pt>
                <c:pt idx="95">
                  <c:v>21.90968547947249</c:v>
                </c:pt>
                <c:pt idx="96">
                  <c:v>22.997400361432117</c:v>
                </c:pt>
                <c:pt idx="97">
                  <c:v>21.754297639192544</c:v>
                </c:pt>
                <c:pt idx="98">
                  <c:v>24.24050308367169</c:v>
                </c:pt>
                <c:pt idx="99">
                  <c:v>24.706666604511533</c:v>
                </c:pt>
                <c:pt idx="100">
                  <c:v>24.24050308367169</c:v>
                </c:pt>
                <c:pt idx="101">
                  <c:v>25.794381486471156</c:v>
                </c:pt>
                <c:pt idx="102">
                  <c:v>25.328217965631318</c:v>
                </c:pt>
                <c:pt idx="103">
                  <c:v>24.395890923951637</c:v>
                </c:pt>
                <c:pt idx="104">
                  <c:v>25.794381486471156</c:v>
                </c:pt>
                <c:pt idx="105">
                  <c:v>23.774339562831848</c:v>
                </c:pt>
                <c:pt idx="106">
                  <c:v>23.152788201712063</c:v>
                </c:pt>
                <c:pt idx="107">
                  <c:v>24.706666604511533</c:v>
                </c:pt>
                <c:pt idx="108">
                  <c:v>24.395890923951637</c:v>
                </c:pt>
                <c:pt idx="109">
                  <c:v>23.929727403111798</c:v>
                </c:pt>
                <c:pt idx="110">
                  <c:v>24.24050308367169</c:v>
                </c:pt>
                <c:pt idx="111">
                  <c:v>25.328217965631318</c:v>
                </c:pt>
                <c:pt idx="112">
                  <c:v>25.483605805911264</c:v>
                </c:pt>
                <c:pt idx="113">
                  <c:v>27.659035569830518</c:v>
                </c:pt>
                <c:pt idx="114">
                  <c:v>26.726708528150837</c:v>
                </c:pt>
                <c:pt idx="115">
                  <c:v>27.659035569830518</c:v>
                </c:pt>
                <c:pt idx="116">
                  <c:v>31.543731576829188</c:v>
                </c:pt>
                <c:pt idx="117">
                  <c:v>32.320670778228923</c:v>
                </c:pt>
                <c:pt idx="118">
                  <c:v>36.982305986627324</c:v>
                </c:pt>
                <c:pt idx="119">
                  <c:v>34.029937021308335</c:v>
                </c:pt>
                <c:pt idx="120">
                  <c:v>36.671530306067432</c:v>
                </c:pt>
                <c:pt idx="121">
                  <c:v>43.197819597825195</c:v>
                </c:pt>
                <c:pt idx="122">
                  <c:v>50.345660250702743</c:v>
                </c:pt>
                <c:pt idx="123">
                  <c:v>51.277987292382427</c:v>
                </c:pt>
                <c:pt idx="124">
                  <c:v>51.899538653502205</c:v>
                </c:pt>
                <c:pt idx="125">
                  <c:v>51.899538653502205</c:v>
                </c:pt>
                <c:pt idx="126">
                  <c:v>67.749098362056785</c:v>
                </c:pt>
                <c:pt idx="127">
                  <c:v>71.633794369055451</c:v>
                </c:pt>
                <c:pt idx="128">
                  <c:v>76.295429577453845</c:v>
                </c:pt>
                <c:pt idx="129">
                  <c:v>79.713962063612684</c:v>
                </c:pt>
                <c:pt idx="130">
                  <c:v>76.450817417733788</c:v>
                </c:pt>
                <c:pt idx="131">
                  <c:v>76.60620525801373</c:v>
                </c:pt>
                <c:pt idx="132">
                  <c:v>86.395639195650389</c:v>
                </c:pt>
                <c:pt idx="133">
                  <c:v>95.252746091607349</c:v>
                </c:pt>
                <c:pt idx="134">
                  <c:v>111.10230580016191</c:v>
                </c:pt>
                <c:pt idx="135">
                  <c:v>114.67622612660068</c:v>
                </c:pt>
                <c:pt idx="136">
                  <c:v>127.26264118927638</c:v>
                </c:pt>
                <c:pt idx="137">
                  <c:v>136.89668728663307</c:v>
                </c:pt>
                <c:pt idx="138">
                  <c:v>140.93677113391169</c:v>
                </c:pt>
                <c:pt idx="139">
                  <c:v>150.57081723126839</c:v>
                </c:pt>
                <c:pt idx="140">
                  <c:v>166.73115262038286</c:v>
                </c:pt>
                <c:pt idx="141">
                  <c:v>192.21475842629411</c:v>
                </c:pt>
                <c:pt idx="142">
                  <c:v>218.63069127388505</c:v>
                </c:pt>
                <c:pt idx="143">
                  <c:v>254.52528237855276</c:v>
                </c:pt>
                <c:pt idx="144">
                  <c:v>265.86859471898885</c:v>
                </c:pt>
                <c:pt idx="145">
                  <c:v>266.49014608010862</c:v>
                </c:pt>
                <c:pt idx="146">
                  <c:v>284.98129907342229</c:v>
                </c:pt>
                <c:pt idx="147">
                  <c:v>326.46985242816811</c:v>
                </c:pt>
                <c:pt idx="148">
                  <c:v>359.87823808835662</c:v>
                </c:pt>
                <c:pt idx="149">
                  <c:v>339.67781885196359</c:v>
                </c:pt>
                <c:pt idx="150">
                  <c:v>344.80561758120177</c:v>
                </c:pt>
                <c:pt idx="151">
                  <c:v>365.31681249815477</c:v>
                </c:pt>
                <c:pt idx="152">
                  <c:v>375.41702211635129</c:v>
                </c:pt>
                <c:pt idx="153">
                  <c:v>411.46700106129896</c:v>
                </c:pt>
                <c:pt idx="154">
                  <c:v>455.59714770080382</c:v>
                </c:pt>
                <c:pt idx="155">
                  <c:v>493.97794424995067</c:v>
                </c:pt>
                <c:pt idx="156">
                  <c:v>574.15806983440314</c:v>
                </c:pt>
                <c:pt idx="157">
                  <c:v>613.78196910578959</c:v>
                </c:pt>
                <c:pt idx="158">
                  <c:v>615.02507182802913</c:v>
                </c:pt>
                <c:pt idx="159">
                  <c:v>612.53886638355004</c:v>
                </c:pt>
                <c:pt idx="160">
                  <c:v>620.61903407810735</c:v>
                </c:pt>
                <c:pt idx="161">
                  <c:v>650.45349941185702</c:v>
                </c:pt>
                <c:pt idx="162">
                  <c:v>677.80175930112762</c:v>
                </c:pt>
                <c:pt idx="163">
                  <c:v>706.39312191263787</c:v>
                </c:pt>
                <c:pt idx="164">
                  <c:v>737.6260778089071</c:v>
                </c:pt>
                <c:pt idx="165">
                  <c:v>749.12477798962323</c:v>
                </c:pt>
                <c:pt idx="166">
                  <c:v>769.48058506629616</c:v>
                </c:pt>
                <c:pt idx="167">
                  <c:v>798.22733551808642</c:v>
                </c:pt>
                <c:pt idx="168">
                  <c:v>859.60553242866536</c:v>
                </c:pt>
                <c:pt idx="169">
                  <c:v>828.21718869211611</c:v>
                </c:pt>
                <c:pt idx="170">
                  <c:v>822.3124507614782</c:v>
                </c:pt>
                <c:pt idx="171">
                  <c:v>953.45978795775306</c:v>
                </c:pt>
                <c:pt idx="172">
                  <c:v>1021.5196620003699</c:v>
                </c:pt>
                <c:pt idx="173">
                  <c:v>1023.2289282434493</c:v>
                </c:pt>
                <c:pt idx="174">
                  <c:v>1080.8778169873094</c:v>
                </c:pt>
                <c:pt idx="175">
                  <c:v>1156.3963073633636</c:v>
                </c:pt>
                <c:pt idx="176">
                  <c:v>1218.8622191559023</c:v>
                </c:pt>
                <c:pt idx="177">
                  <c:v>1359.9543781300938</c:v>
                </c:pt>
                <c:pt idx="178">
                  <c:v>1330.8968519977436</c:v>
                </c:pt>
                <c:pt idx="179">
                  <c:v>1316.7565585322686</c:v>
                </c:pt>
                <c:pt idx="180">
                  <c:v>1311.0072084419105</c:v>
                </c:pt>
                <c:pt idx="181">
                  <c:v>1327.7890951921449</c:v>
                </c:pt>
                <c:pt idx="182">
                  <c:v>1267.4986131635255</c:v>
                </c:pt>
                <c:pt idx="183">
                  <c:v>1298.1100176986752</c:v>
                </c:pt>
                <c:pt idx="184">
                  <c:v>1230.827082857458</c:v>
                </c:pt>
                <c:pt idx="185">
                  <c:v>1189.6493051832722</c:v>
                </c:pt>
                <c:pt idx="186">
                  <c:v>1168.0503953843597</c:v>
                </c:pt>
                <c:pt idx="187">
                  <c:v>1169.1381102663192</c:v>
                </c:pt>
                <c:pt idx="188">
                  <c:v>1132.7773556408117</c:v>
                </c:pt>
                <c:pt idx="189">
                  <c:v>1068.75756544547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12F-4BD0-9093-BC5C0FF99C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C$122:$C$344</c:f>
              <c:numCache>
                <c:formatCode>General</c:formatCode>
                <c:ptCount val="22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12F-4BD0-9093-BC5C0FF99C0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D$122:$D$344</c:f>
              <c:numCache>
                <c:formatCode>General</c:formatCode>
                <c:ptCount val="223"/>
                <c:pt idx="185" formatCode="0">
                  <c:v>1264.7016320384864</c:v>
                </c:pt>
                <c:pt idx="186" formatCode="0">
                  <c:v>1248.8520723299318</c:v>
                </c:pt>
                <c:pt idx="187" formatCode="0">
                  <c:v>1230.5163071768982</c:v>
                </c:pt>
                <c:pt idx="188">
                  <c:v>1212.8020933849843</c:v>
                </c:pt>
                <c:pt idx="189">
                  <c:v>1196.4863701555898</c:v>
                </c:pt>
                <c:pt idx="190">
                  <c:v>1177.2182779608763</c:v>
                </c:pt>
                <c:pt idx="191">
                  <c:v>1153.4439383980446</c:v>
                </c:pt>
                <c:pt idx="192">
                  <c:v>1131.5342529185721</c:v>
                </c:pt>
                <c:pt idx="193">
                  <c:v>1111.3338336821789</c:v>
                </c:pt>
                <c:pt idx="194">
                  <c:v>1092.5319050083056</c:v>
                </c:pt>
                <c:pt idx="195">
                  <c:v>1073.5745884941518</c:v>
                </c:pt>
                <c:pt idx="196">
                  <c:v>1054.3064962994385</c:v>
                </c:pt>
                <c:pt idx="197">
                  <c:v>1034.7276284241655</c:v>
                </c:pt>
                <c:pt idx="198">
                  <c:v>1015.304148389172</c:v>
                </c:pt>
                <c:pt idx="199">
                  <c:v>997.12377107641805</c:v>
                </c:pt>
                <c:pt idx="200">
                  <c:v>979.72033296506413</c:v>
                </c:pt>
                <c:pt idx="201">
                  <c:v>962.47228269399011</c:v>
                </c:pt>
                <c:pt idx="202">
                  <c:v>945.06884458263607</c:v>
                </c:pt>
                <c:pt idx="203">
                  <c:v>927.97618215184184</c:v>
                </c:pt>
                <c:pt idx="204">
                  <c:v>911.19429540160763</c:v>
                </c:pt>
                <c:pt idx="205">
                  <c:v>895.03396001249325</c:v>
                </c:pt>
                <c:pt idx="206">
                  <c:v>879.18440030393867</c:v>
                </c:pt>
                <c:pt idx="207">
                  <c:v>863.64561627594389</c:v>
                </c:pt>
                <c:pt idx="208">
                  <c:v>848.10683224794923</c:v>
                </c:pt>
                <c:pt idx="209">
                  <c:v>832.87882390051459</c:v>
                </c:pt>
                <c:pt idx="210">
                  <c:v>817.96159123363964</c:v>
                </c:pt>
                <c:pt idx="211">
                  <c:v>803.51052208760461</c:v>
                </c:pt>
                <c:pt idx="212">
                  <c:v>789.21484078184938</c:v>
                </c:pt>
                <c:pt idx="213">
                  <c:v>775.22993515665416</c:v>
                </c:pt>
                <c:pt idx="214">
                  <c:v>761.40041737173897</c:v>
                </c:pt>
                <c:pt idx="215">
                  <c:v>747.88167526738368</c:v>
                </c:pt>
                <c:pt idx="216">
                  <c:v>734.6737088435882</c:v>
                </c:pt>
                <c:pt idx="217">
                  <c:v>721.77651810035252</c:v>
                </c:pt>
                <c:pt idx="218">
                  <c:v>709.03471519739696</c:v>
                </c:pt>
                <c:pt idx="219">
                  <c:v>696.60368797500121</c:v>
                </c:pt>
                <c:pt idx="220">
                  <c:v>684.32804859288535</c:v>
                </c:pt>
                <c:pt idx="221">
                  <c:v>672.36318489132952</c:v>
                </c:pt>
                <c:pt idx="222">
                  <c:v>660.70909687033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12F-4BD0-9093-BC5C0FF99C0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E$122:$E$344</c:f>
              <c:numCache>
                <c:formatCode>General</c:formatCode>
                <c:ptCount val="223"/>
                <c:pt idx="185" formatCode="0">
                  <c:v>1268.5863280454851</c:v>
                </c:pt>
                <c:pt idx="186" formatCode="0">
                  <c:v>1258.7968941078486</c:v>
                </c:pt>
                <c:pt idx="187" formatCode="0">
                  <c:v>1247.7643574479723</c:v>
                </c:pt>
                <c:pt idx="188">
                  <c:v>1237.9749235103357</c:v>
                </c:pt>
                <c:pt idx="189">
                  <c:v>1230.9824706977379</c:v>
                </c:pt>
                <c:pt idx="190">
                  <c:v>1222.591527322621</c:v>
                </c:pt>
                <c:pt idx="191">
                  <c:v>1211.4036028224646</c:v>
                </c:pt>
                <c:pt idx="192">
                  <c:v>1199.9049026417488</c:v>
                </c:pt>
                <c:pt idx="193">
                  <c:v>1189.1831416624325</c:v>
                </c:pt>
                <c:pt idx="194">
                  <c:v>1179.7044834053556</c:v>
                </c:pt>
                <c:pt idx="195">
                  <c:v>1170.5366008288388</c:v>
                </c:pt>
                <c:pt idx="196">
                  <c:v>1161.0579425717619</c:v>
                </c:pt>
                <c:pt idx="197">
                  <c:v>1150.9577329535655</c:v>
                </c:pt>
                <c:pt idx="198">
                  <c:v>1140.546747654809</c:v>
                </c:pt>
                <c:pt idx="199">
                  <c:v>1130.7573137171723</c:v>
                </c:pt>
                <c:pt idx="200">
                  <c:v>1121.4340433003756</c:v>
                </c:pt>
                <c:pt idx="201">
                  <c:v>1112.2661607238585</c:v>
                </c:pt>
                <c:pt idx="202">
                  <c:v>1102.9428903070618</c:v>
                </c:pt>
                <c:pt idx="203">
                  <c:v>1093.4642320499852</c:v>
                </c:pt>
                <c:pt idx="204">
                  <c:v>1083.9855737929086</c:v>
                </c:pt>
                <c:pt idx="205">
                  <c:v>1074.8176912163915</c:v>
                </c:pt>
                <c:pt idx="206">
                  <c:v>1065.8051964801546</c:v>
                </c:pt>
                <c:pt idx="207">
                  <c:v>1056.9480895841975</c:v>
                </c:pt>
                <c:pt idx="208">
                  <c:v>1048.0909826882407</c:v>
                </c:pt>
                <c:pt idx="209">
                  <c:v>1039.2338757922839</c:v>
                </c:pt>
                <c:pt idx="210">
                  <c:v>1030.5321567366066</c:v>
                </c:pt>
                <c:pt idx="211">
                  <c:v>1021.9858255212097</c:v>
                </c:pt>
                <c:pt idx="212">
                  <c:v>1013.4394943058126</c:v>
                </c:pt>
                <c:pt idx="213">
                  <c:v>1005.0485509306953</c:v>
                </c:pt>
                <c:pt idx="214">
                  <c:v>996.65760755557835</c:v>
                </c:pt>
                <c:pt idx="215">
                  <c:v>988.26666418046125</c:v>
                </c:pt>
                <c:pt idx="216">
                  <c:v>979.87572080534403</c:v>
                </c:pt>
                <c:pt idx="217">
                  <c:v>971.64016527050705</c:v>
                </c:pt>
                <c:pt idx="218">
                  <c:v>963.55999757594975</c:v>
                </c:pt>
                <c:pt idx="219">
                  <c:v>955.63521772167246</c:v>
                </c:pt>
                <c:pt idx="220">
                  <c:v>947.71043786739517</c:v>
                </c:pt>
                <c:pt idx="221">
                  <c:v>939.9410458533979</c:v>
                </c:pt>
                <c:pt idx="222">
                  <c:v>932.171653839400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12F-4BD0-9093-BC5C0FF99C0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F$122:$F$344</c:f>
              <c:numCache>
                <c:formatCode>General</c:formatCode>
                <c:ptCount val="223"/>
                <c:pt idx="185" formatCode="0">
                  <c:v>1276.5111078997625</c:v>
                </c:pt>
                <c:pt idx="186" formatCode="0">
                  <c:v>1278.8419255039616</c:v>
                </c:pt>
                <c:pt idx="187" formatCode="0">
                  <c:v>1282.4158458304005</c:v>
                </c:pt>
                <c:pt idx="188">
                  <c:v>1288.6313594415983</c:v>
                </c:pt>
                <c:pt idx="189">
                  <c:v>1300.4408353028741</c:v>
                </c:pt>
                <c:pt idx="190">
                  <c:v>1314.4257409280694</c:v>
                </c:pt>
                <c:pt idx="191">
                  <c:v>1329.4983614352243</c:v>
                </c:pt>
                <c:pt idx="192">
                  <c:v>1340.5308980951004</c:v>
                </c:pt>
                <c:pt idx="193">
                  <c:v>1350.9418833938569</c:v>
                </c:pt>
                <c:pt idx="194">
                  <c:v>1362.7513592551329</c:v>
                </c:pt>
                <c:pt idx="195">
                  <c:v>1376.4254891997682</c:v>
                </c:pt>
                <c:pt idx="196">
                  <c:v>1390.8765583458032</c:v>
                </c:pt>
                <c:pt idx="197">
                  <c:v>1404.7060761307184</c:v>
                </c:pt>
                <c:pt idx="198">
                  <c:v>1417.7586547142339</c:v>
                </c:pt>
                <c:pt idx="199">
                  <c:v>1430.3450697769097</c:v>
                </c:pt>
                <c:pt idx="200">
                  <c:v>1443.7084240409852</c:v>
                </c:pt>
                <c:pt idx="201">
                  <c:v>1457.8487175064604</c:v>
                </c:pt>
                <c:pt idx="202">
                  <c:v>1472.4551744927753</c:v>
                </c:pt>
                <c:pt idx="203">
                  <c:v>1486.5954679582503</c:v>
                </c:pt>
                <c:pt idx="204">
                  <c:v>1500.4249857431655</c:v>
                </c:pt>
                <c:pt idx="205">
                  <c:v>1514.4098913683608</c:v>
                </c:pt>
                <c:pt idx="206">
                  <c:v>1528.705572674116</c:v>
                </c:pt>
                <c:pt idx="207">
                  <c:v>1543.4674175007108</c:v>
                </c:pt>
                <c:pt idx="208">
                  <c:v>1558.3846501675857</c:v>
                </c:pt>
                <c:pt idx="209">
                  <c:v>1573.1464949941806</c:v>
                </c:pt>
                <c:pt idx="210">
                  <c:v>1587.9083398207756</c:v>
                </c:pt>
                <c:pt idx="211">
                  <c:v>1602.9809603279305</c:v>
                </c:pt>
                <c:pt idx="212">
                  <c:v>1618.2089686753654</c:v>
                </c:pt>
                <c:pt idx="213">
                  <c:v>1633.5923648630801</c:v>
                </c:pt>
                <c:pt idx="214">
                  <c:v>1649.1311488910746</c:v>
                </c:pt>
                <c:pt idx="215">
                  <c:v>1664.6699329190692</c:v>
                </c:pt>
                <c:pt idx="216">
                  <c:v>1680.3641047873439</c:v>
                </c:pt>
                <c:pt idx="217">
                  <c:v>1696.2136644958985</c:v>
                </c:pt>
                <c:pt idx="218">
                  <c:v>1712.2186120447329</c:v>
                </c:pt>
                <c:pt idx="219">
                  <c:v>1728.3789474338475</c:v>
                </c:pt>
                <c:pt idx="220">
                  <c:v>1744.850058503522</c:v>
                </c:pt>
                <c:pt idx="221">
                  <c:v>1761.3211695731961</c:v>
                </c:pt>
                <c:pt idx="222">
                  <c:v>1777.94766848315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912F-4BD0-9093-BC5C0FF99C0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G$122:$G$344</c:f>
              <c:numCache>
                <c:formatCode>General</c:formatCode>
                <c:ptCount val="223"/>
                <c:pt idx="185" formatCode="0">
                  <c:v>1280.3958039067611</c:v>
                </c:pt>
                <c:pt idx="186" formatCode="0">
                  <c:v>1288.7867472818782</c:v>
                </c:pt>
                <c:pt idx="187" formatCode="0">
                  <c:v>1299.6638961014744</c:v>
                </c:pt>
                <c:pt idx="188">
                  <c:v>1313.8041895669496</c:v>
                </c:pt>
                <c:pt idx="189">
                  <c:v>1335.0923236853023</c:v>
                </c:pt>
                <c:pt idx="190">
                  <c:v>1360.7313173314935</c:v>
                </c:pt>
                <c:pt idx="191">
                  <c:v>1389.7888434638435</c:v>
                </c:pt>
                <c:pt idx="192">
                  <c:v>1413.2524073461157</c:v>
                </c:pt>
                <c:pt idx="193">
                  <c:v>1435.472868506148</c:v>
                </c:pt>
                <c:pt idx="194">
                  <c:v>1459.4025959092596</c:v>
                </c:pt>
                <c:pt idx="195">
                  <c:v>1486.5954679582503</c:v>
                </c:pt>
                <c:pt idx="196">
                  <c:v>1515.3422184100405</c:v>
                </c:pt>
                <c:pt idx="197">
                  <c:v>1543.7781931812708</c:v>
                </c:pt>
                <c:pt idx="198">
                  <c:v>1571.2818409108213</c:v>
                </c:pt>
                <c:pt idx="199">
                  <c:v>1598.1639372792522</c:v>
                </c:pt>
                <c:pt idx="200">
                  <c:v>1626.4445242102024</c:v>
                </c:pt>
                <c:pt idx="201">
                  <c:v>1656.2789895439523</c:v>
                </c:pt>
                <c:pt idx="202">
                  <c:v>1687.0457819193816</c:v>
                </c:pt>
                <c:pt idx="203">
                  <c:v>1717.6571864545313</c:v>
                </c:pt>
                <c:pt idx="204">
                  <c:v>1748.1132031494008</c:v>
                </c:pt>
                <c:pt idx="205">
                  <c:v>1779.0353833651102</c:v>
                </c:pt>
                <c:pt idx="206">
                  <c:v>1810.8898906224993</c:v>
                </c:pt>
                <c:pt idx="207">
                  <c:v>1843.8321127618478</c:v>
                </c:pt>
                <c:pt idx="208">
                  <c:v>1877.3958862623165</c:v>
                </c:pt>
                <c:pt idx="209">
                  <c:v>1911.2704354433449</c:v>
                </c:pt>
                <c:pt idx="210">
                  <c:v>1945.4557603049329</c:v>
                </c:pt>
                <c:pt idx="211">
                  <c:v>1980.262636527641</c:v>
                </c:pt>
                <c:pt idx="212">
                  <c:v>2015.8464519517488</c:v>
                </c:pt>
                <c:pt idx="213">
                  <c:v>2052.0518187369767</c:v>
                </c:pt>
                <c:pt idx="214">
                  <c:v>2088.8787368833241</c:v>
                </c:pt>
                <c:pt idx="215">
                  <c:v>2126.3272063907912</c:v>
                </c:pt>
                <c:pt idx="216">
                  <c:v>2164.3972272593783</c:v>
                </c:pt>
                <c:pt idx="217">
                  <c:v>2203.088799489085</c:v>
                </c:pt>
                <c:pt idx="218">
                  <c:v>2242.5573109201914</c:v>
                </c:pt>
                <c:pt idx="219">
                  <c:v>2282.8027615526976</c:v>
                </c:pt>
                <c:pt idx="220">
                  <c:v>2323.8251513866035</c:v>
                </c:pt>
                <c:pt idx="221">
                  <c:v>2365.469092581629</c:v>
                </c:pt>
                <c:pt idx="222">
                  <c:v>2407.73458513777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912F-4BD0-9093-BC5C0FF99C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4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3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B$397:$B$497</c:f>
              <c:numCache>
                <c:formatCode>0</c:formatCode>
                <c:ptCount val="101"/>
                <c:pt idx="0">
                  <c:v>51</c:v>
                </c:pt>
                <c:pt idx="1">
                  <c:v>22</c:v>
                </c:pt>
                <c:pt idx="2">
                  <c:v>10</c:v>
                </c:pt>
                <c:pt idx="3">
                  <c:v>60</c:v>
                </c:pt>
                <c:pt idx="4">
                  <c:v>51</c:v>
                </c:pt>
                <c:pt idx="5">
                  <c:v>44</c:v>
                </c:pt>
                <c:pt idx="6">
                  <c:v>45</c:v>
                </c:pt>
                <c:pt idx="7">
                  <c:v>47</c:v>
                </c:pt>
                <c:pt idx="8">
                  <c:v>42</c:v>
                </c:pt>
                <c:pt idx="9">
                  <c:v>7</c:v>
                </c:pt>
                <c:pt idx="10">
                  <c:v>87</c:v>
                </c:pt>
                <c:pt idx="11">
                  <c:v>106</c:v>
                </c:pt>
                <c:pt idx="12">
                  <c:v>95</c:v>
                </c:pt>
                <c:pt idx="13">
                  <c:v>110</c:v>
                </c:pt>
                <c:pt idx="14">
                  <c:v>120</c:v>
                </c:pt>
                <c:pt idx="15">
                  <c:v>65</c:v>
                </c:pt>
                <c:pt idx="16">
                  <c:v>37</c:v>
                </c:pt>
                <c:pt idx="17">
                  <c:v>133</c:v>
                </c:pt>
                <c:pt idx="18">
                  <c:v>218</c:v>
                </c:pt>
                <c:pt idx="19">
                  <c:v>199</c:v>
                </c:pt>
                <c:pt idx="20">
                  <c:v>251</c:v>
                </c:pt>
                <c:pt idx="21">
                  <c:v>236</c:v>
                </c:pt>
                <c:pt idx="22">
                  <c:v>117</c:v>
                </c:pt>
                <c:pt idx="23">
                  <c:v>102</c:v>
                </c:pt>
                <c:pt idx="24">
                  <c:v>274</c:v>
                </c:pt>
                <c:pt idx="25">
                  <c:v>352</c:v>
                </c:pt>
                <c:pt idx="26">
                  <c:v>338</c:v>
                </c:pt>
                <c:pt idx="27">
                  <c:v>279</c:v>
                </c:pt>
                <c:pt idx="28">
                  <c:v>354</c:v>
                </c:pt>
                <c:pt idx="29">
                  <c:v>295</c:v>
                </c:pt>
                <c:pt idx="30">
                  <c:v>137</c:v>
                </c:pt>
                <c:pt idx="31">
                  <c:v>445</c:v>
                </c:pt>
                <c:pt idx="32">
                  <c:v>468</c:v>
                </c:pt>
                <c:pt idx="33">
                  <c:v>517</c:v>
                </c:pt>
                <c:pt idx="34">
                  <c:v>457</c:v>
                </c:pt>
                <c:pt idx="35">
                  <c:v>561</c:v>
                </c:pt>
                <c:pt idx="36">
                  <c:v>290</c:v>
                </c:pt>
                <c:pt idx="37">
                  <c:v>93</c:v>
                </c:pt>
                <c:pt idx="38">
                  <c:v>673</c:v>
                </c:pt>
                <c:pt idx="39">
                  <c:v>906</c:v>
                </c:pt>
                <c:pt idx="40">
                  <c:v>641</c:v>
                </c:pt>
                <c:pt idx="41">
                  <c:v>532</c:v>
                </c:pt>
                <c:pt idx="42">
                  <c:v>588</c:v>
                </c:pt>
                <c:pt idx="43">
                  <c:v>649</c:v>
                </c:pt>
                <c:pt idx="44">
                  <c:v>201</c:v>
                </c:pt>
                <c:pt idx="45">
                  <c:v>661</c:v>
                </c:pt>
                <c:pt idx="46">
                  <c:v>1233</c:v>
                </c:pt>
                <c:pt idx="47">
                  <c:v>525</c:v>
                </c:pt>
                <c:pt idx="48">
                  <c:v>886</c:v>
                </c:pt>
                <c:pt idx="49">
                  <c:v>977</c:v>
                </c:pt>
                <c:pt idx="50">
                  <c:v>692</c:v>
                </c:pt>
                <c:pt idx="51">
                  <c:v>218</c:v>
                </c:pt>
                <c:pt idx="52">
                  <c:v>900</c:v>
                </c:pt>
                <c:pt idx="53">
                  <c:v>1149</c:v>
                </c:pt>
                <c:pt idx="54">
                  <c:v>807</c:v>
                </c:pt>
                <c:pt idx="55">
                  <c:v>1211</c:v>
                </c:pt>
                <c:pt idx="56">
                  <c:v>935</c:v>
                </c:pt>
                <c:pt idx="57">
                  <c:v>602</c:v>
                </c:pt>
                <c:pt idx="58">
                  <c:v>290</c:v>
                </c:pt>
                <c:pt idx="59">
                  <c:v>682</c:v>
                </c:pt>
                <c:pt idx="60">
                  <c:v>1164</c:v>
                </c:pt>
                <c:pt idx="61">
                  <c:v>791</c:v>
                </c:pt>
                <c:pt idx="62">
                  <c:v>911</c:v>
                </c:pt>
                <c:pt idx="63">
                  <c:v>709</c:v>
                </c:pt>
                <c:pt idx="64">
                  <c:v>455</c:v>
                </c:pt>
                <c:pt idx="65">
                  <c:v>198</c:v>
                </c:pt>
                <c:pt idx="66">
                  <c:v>818</c:v>
                </c:pt>
                <c:pt idx="67">
                  <c:v>7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6C-4350-A198-757D4EB92D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C$397:$C$497</c:f>
              <c:numCache>
                <c:formatCode>General</c:formatCode>
                <c:ptCount val="10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76C-4350-A198-757D4EB92D7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D$397:$D$497</c:f>
              <c:numCache>
                <c:formatCode>General</c:formatCode>
                <c:ptCount val="101"/>
                <c:pt idx="63">
                  <c:v>879</c:v>
                </c:pt>
                <c:pt idx="64">
                  <c:v>854</c:v>
                </c:pt>
                <c:pt idx="65">
                  <c:v>836</c:v>
                </c:pt>
                <c:pt idx="66">
                  <c:v>825</c:v>
                </c:pt>
                <c:pt idx="67">
                  <c:v>814</c:v>
                </c:pt>
                <c:pt idx="68">
                  <c:v>802</c:v>
                </c:pt>
                <c:pt idx="69">
                  <c:v>787</c:v>
                </c:pt>
                <c:pt idx="70">
                  <c:v>768</c:v>
                </c:pt>
                <c:pt idx="71">
                  <c:v>753</c:v>
                </c:pt>
                <c:pt idx="72">
                  <c:v>741</c:v>
                </c:pt>
                <c:pt idx="73">
                  <c:v>730</c:v>
                </c:pt>
                <c:pt idx="74">
                  <c:v>717</c:v>
                </c:pt>
                <c:pt idx="75">
                  <c:v>703</c:v>
                </c:pt>
                <c:pt idx="76">
                  <c:v>690</c:v>
                </c:pt>
                <c:pt idx="77">
                  <c:v>677</c:v>
                </c:pt>
                <c:pt idx="78">
                  <c:v>665</c:v>
                </c:pt>
                <c:pt idx="79">
                  <c:v>654</c:v>
                </c:pt>
                <c:pt idx="80">
                  <c:v>643</c:v>
                </c:pt>
                <c:pt idx="81">
                  <c:v>631</c:v>
                </c:pt>
                <c:pt idx="82">
                  <c:v>619</c:v>
                </c:pt>
                <c:pt idx="83">
                  <c:v>608</c:v>
                </c:pt>
                <c:pt idx="84">
                  <c:v>597</c:v>
                </c:pt>
                <c:pt idx="85">
                  <c:v>587</c:v>
                </c:pt>
                <c:pt idx="86">
                  <c:v>577</c:v>
                </c:pt>
                <c:pt idx="87">
                  <c:v>566</c:v>
                </c:pt>
                <c:pt idx="88">
                  <c:v>556</c:v>
                </c:pt>
                <c:pt idx="89">
                  <c:v>546</c:v>
                </c:pt>
                <c:pt idx="90">
                  <c:v>537</c:v>
                </c:pt>
                <c:pt idx="91">
                  <c:v>527</c:v>
                </c:pt>
                <c:pt idx="92">
                  <c:v>518</c:v>
                </c:pt>
                <c:pt idx="93">
                  <c:v>509</c:v>
                </c:pt>
                <c:pt idx="94">
                  <c:v>500</c:v>
                </c:pt>
                <c:pt idx="95">
                  <c:v>491</c:v>
                </c:pt>
                <c:pt idx="96">
                  <c:v>482</c:v>
                </c:pt>
                <c:pt idx="97">
                  <c:v>474</c:v>
                </c:pt>
                <c:pt idx="98">
                  <c:v>466</c:v>
                </c:pt>
                <c:pt idx="99">
                  <c:v>457</c:v>
                </c:pt>
                <c:pt idx="100">
                  <c:v>4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76C-4350-A198-757D4EB92D7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E$397:$E$497</c:f>
              <c:numCache>
                <c:formatCode>General</c:formatCode>
                <c:ptCount val="101"/>
                <c:pt idx="63">
                  <c:v>898</c:v>
                </c:pt>
                <c:pt idx="64">
                  <c:v>884</c:v>
                </c:pt>
                <c:pt idx="65">
                  <c:v>872</c:v>
                </c:pt>
                <c:pt idx="66">
                  <c:v>865</c:v>
                </c:pt>
                <c:pt idx="67">
                  <c:v>860</c:v>
                </c:pt>
                <c:pt idx="68">
                  <c:v>857</c:v>
                </c:pt>
                <c:pt idx="69">
                  <c:v>850</c:v>
                </c:pt>
                <c:pt idx="70">
                  <c:v>840</c:v>
                </c:pt>
                <c:pt idx="71">
                  <c:v>831</c:v>
                </c:pt>
                <c:pt idx="72">
                  <c:v>824</c:v>
                </c:pt>
                <c:pt idx="73">
                  <c:v>819</c:v>
                </c:pt>
                <c:pt idx="74">
                  <c:v>813</c:v>
                </c:pt>
                <c:pt idx="75">
                  <c:v>806</c:v>
                </c:pt>
                <c:pt idx="76">
                  <c:v>798</c:v>
                </c:pt>
                <c:pt idx="77">
                  <c:v>791</c:v>
                </c:pt>
                <c:pt idx="78">
                  <c:v>784</c:v>
                </c:pt>
                <c:pt idx="79">
                  <c:v>778</c:v>
                </c:pt>
                <c:pt idx="80">
                  <c:v>772</c:v>
                </c:pt>
                <c:pt idx="81">
                  <c:v>765</c:v>
                </c:pt>
                <c:pt idx="82">
                  <c:v>758</c:v>
                </c:pt>
                <c:pt idx="83">
                  <c:v>752</c:v>
                </c:pt>
                <c:pt idx="84">
                  <c:v>746</c:v>
                </c:pt>
                <c:pt idx="85">
                  <c:v>740</c:v>
                </c:pt>
                <c:pt idx="86">
                  <c:v>734</c:v>
                </c:pt>
                <c:pt idx="87">
                  <c:v>727</c:v>
                </c:pt>
                <c:pt idx="88">
                  <c:v>721</c:v>
                </c:pt>
                <c:pt idx="89">
                  <c:v>715</c:v>
                </c:pt>
                <c:pt idx="90">
                  <c:v>709</c:v>
                </c:pt>
                <c:pt idx="91">
                  <c:v>703</c:v>
                </c:pt>
                <c:pt idx="92">
                  <c:v>697</c:v>
                </c:pt>
                <c:pt idx="93">
                  <c:v>692</c:v>
                </c:pt>
                <c:pt idx="94">
                  <c:v>686</c:v>
                </c:pt>
                <c:pt idx="95">
                  <c:v>680</c:v>
                </c:pt>
                <c:pt idx="96">
                  <c:v>675</c:v>
                </c:pt>
                <c:pt idx="97">
                  <c:v>669</c:v>
                </c:pt>
                <c:pt idx="98">
                  <c:v>663</c:v>
                </c:pt>
                <c:pt idx="99">
                  <c:v>658</c:v>
                </c:pt>
                <c:pt idx="100">
                  <c:v>6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76C-4350-A198-757D4EB92D7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0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F$397:$F$497</c:f>
              <c:numCache>
                <c:formatCode>General</c:formatCode>
                <c:ptCount val="101"/>
                <c:pt idx="63">
                  <c:v>937</c:v>
                </c:pt>
                <c:pt idx="64">
                  <c:v>945</c:v>
                </c:pt>
                <c:pt idx="65">
                  <c:v>945</c:v>
                </c:pt>
                <c:pt idx="66">
                  <c:v>945</c:v>
                </c:pt>
                <c:pt idx="67">
                  <c:v>954</c:v>
                </c:pt>
                <c:pt idx="68">
                  <c:v>969</c:v>
                </c:pt>
                <c:pt idx="69">
                  <c:v>983</c:v>
                </c:pt>
                <c:pt idx="70">
                  <c:v>993</c:v>
                </c:pt>
                <c:pt idx="71">
                  <c:v>998</c:v>
                </c:pt>
                <c:pt idx="72">
                  <c:v>1005</c:v>
                </c:pt>
                <c:pt idx="73">
                  <c:v>1014</c:v>
                </c:pt>
                <c:pt idx="74">
                  <c:v>1027</c:v>
                </c:pt>
                <c:pt idx="75">
                  <c:v>1039</c:v>
                </c:pt>
                <c:pt idx="76">
                  <c:v>1048</c:v>
                </c:pt>
                <c:pt idx="77">
                  <c:v>1056</c:v>
                </c:pt>
                <c:pt idx="78">
                  <c:v>1065</c:v>
                </c:pt>
                <c:pt idx="79">
                  <c:v>1076</c:v>
                </c:pt>
                <c:pt idx="80">
                  <c:v>1087</c:v>
                </c:pt>
                <c:pt idx="81">
                  <c:v>1098</c:v>
                </c:pt>
                <c:pt idx="82">
                  <c:v>1108</c:v>
                </c:pt>
                <c:pt idx="83">
                  <c:v>1118</c:v>
                </c:pt>
                <c:pt idx="84">
                  <c:v>1128</c:v>
                </c:pt>
                <c:pt idx="85">
                  <c:v>1139</c:v>
                </c:pt>
                <c:pt idx="86">
                  <c:v>1151</c:v>
                </c:pt>
                <c:pt idx="87">
                  <c:v>1162</c:v>
                </c:pt>
                <c:pt idx="88">
                  <c:v>1172</c:v>
                </c:pt>
                <c:pt idx="89">
                  <c:v>1183</c:v>
                </c:pt>
                <c:pt idx="90">
                  <c:v>1194</c:v>
                </c:pt>
                <c:pt idx="91">
                  <c:v>1206</c:v>
                </c:pt>
                <c:pt idx="92">
                  <c:v>1217</c:v>
                </c:pt>
                <c:pt idx="93">
                  <c:v>1229</c:v>
                </c:pt>
                <c:pt idx="94">
                  <c:v>1240</c:v>
                </c:pt>
                <c:pt idx="95">
                  <c:v>1252</c:v>
                </c:pt>
                <c:pt idx="96">
                  <c:v>1264</c:v>
                </c:pt>
                <c:pt idx="97">
                  <c:v>1276</c:v>
                </c:pt>
                <c:pt idx="98">
                  <c:v>1288</c:v>
                </c:pt>
                <c:pt idx="99">
                  <c:v>1300</c:v>
                </c:pt>
                <c:pt idx="100">
                  <c:v>13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76C-4350-A198-757D4EB92D7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97:$A$497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G$397:$G$497</c:f>
              <c:numCache>
                <c:formatCode>General</c:formatCode>
                <c:ptCount val="101"/>
                <c:pt idx="63">
                  <c:v>957</c:v>
                </c:pt>
                <c:pt idx="64">
                  <c:v>976</c:v>
                </c:pt>
                <c:pt idx="65">
                  <c:v>982</c:v>
                </c:pt>
                <c:pt idx="66">
                  <c:v>985</c:v>
                </c:pt>
                <c:pt idx="67">
                  <c:v>1002</c:v>
                </c:pt>
                <c:pt idx="68">
                  <c:v>1027</c:v>
                </c:pt>
                <c:pt idx="69">
                  <c:v>1052</c:v>
                </c:pt>
                <c:pt idx="70">
                  <c:v>1075</c:v>
                </c:pt>
                <c:pt idx="71">
                  <c:v>1088</c:v>
                </c:pt>
                <c:pt idx="72">
                  <c:v>1102</c:v>
                </c:pt>
                <c:pt idx="73">
                  <c:v>1122</c:v>
                </c:pt>
                <c:pt idx="74">
                  <c:v>1146</c:v>
                </c:pt>
                <c:pt idx="75">
                  <c:v>1170</c:v>
                </c:pt>
                <c:pt idx="76">
                  <c:v>1191</c:v>
                </c:pt>
                <c:pt idx="77">
                  <c:v>1210</c:v>
                </c:pt>
                <c:pt idx="78">
                  <c:v>1230</c:v>
                </c:pt>
                <c:pt idx="79">
                  <c:v>1252</c:v>
                </c:pt>
                <c:pt idx="80">
                  <c:v>1277</c:v>
                </c:pt>
                <c:pt idx="81">
                  <c:v>1301</c:v>
                </c:pt>
                <c:pt idx="82">
                  <c:v>1324</c:v>
                </c:pt>
                <c:pt idx="83">
                  <c:v>1346</c:v>
                </c:pt>
                <c:pt idx="84">
                  <c:v>1370</c:v>
                </c:pt>
                <c:pt idx="85">
                  <c:v>1395</c:v>
                </c:pt>
                <c:pt idx="86">
                  <c:v>1421</c:v>
                </c:pt>
                <c:pt idx="87">
                  <c:v>1447</c:v>
                </c:pt>
                <c:pt idx="88">
                  <c:v>1472</c:v>
                </c:pt>
                <c:pt idx="89">
                  <c:v>1498</c:v>
                </c:pt>
                <c:pt idx="90">
                  <c:v>1525</c:v>
                </c:pt>
                <c:pt idx="91">
                  <c:v>1552</c:v>
                </c:pt>
                <c:pt idx="92">
                  <c:v>1581</c:v>
                </c:pt>
                <c:pt idx="93">
                  <c:v>1609</c:v>
                </c:pt>
                <c:pt idx="94">
                  <c:v>1638</c:v>
                </c:pt>
                <c:pt idx="95">
                  <c:v>1667</c:v>
                </c:pt>
                <c:pt idx="96">
                  <c:v>1696</c:v>
                </c:pt>
                <c:pt idx="97">
                  <c:v>1727</c:v>
                </c:pt>
                <c:pt idx="98">
                  <c:v>1758</c:v>
                </c:pt>
                <c:pt idx="99">
                  <c:v>1789</c:v>
                </c:pt>
                <c:pt idx="100">
                  <c:v>18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76C-4350-A198-757D4EB92D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14.svg"/><Relationship Id="rId4" Type="http://schemas.openxmlformats.org/officeDocument/2006/relationships/image" Target="../media/image16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14.svg"/><Relationship Id="rId4" Type="http://schemas.openxmlformats.org/officeDocument/2006/relationships/image" Target="../media/image1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14.svg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2.sv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14.svg"/><Relationship Id="rId4" Type="http://schemas.openxmlformats.org/officeDocument/2006/relationships/image" Target="../media/image1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72549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3885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402064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025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63501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5435169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322748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0549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97284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0473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65062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9499648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59722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426683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8202915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8.12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8.12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4975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9091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03063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gif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gif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gif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gif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3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tiff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tiff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>
                <a:latin typeface="Arial" panose="020B0604020202020204" pitchFamily="34" charset="0"/>
                <a:cs typeface="Arial" panose="020B0604020202020204" pitchFamily="34" charset="0"/>
              </a:rPr>
              <a:t>Stav a vývoj epidemie COVID-19 </a:t>
            </a:r>
            <a:br>
              <a:rPr lang="cs-CZ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b="1" dirty="0">
                <a:latin typeface="Arial" panose="020B0604020202020204" pitchFamily="34" charset="0"/>
                <a:cs typeface="Arial" panose="020B0604020202020204" pitchFamily="34" charset="0"/>
              </a:rPr>
              <a:t>v dostupných datech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304925" y="3693109"/>
            <a:ext cx="9867900" cy="2250491"/>
          </a:xfrm>
        </p:spPr>
        <p:txBody>
          <a:bodyPr>
            <a:normAutofit/>
          </a:bodyPr>
          <a:lstStyle/>
          <a:p>
            <a:r>
              <a:rPr lang="cs-CZ" sz="4800" b="1" dirty="0">
                <a:latin typeface="Arial" panose="020B0604020202020204" pitchFamily="34" charset="0"/>
                <a:cs typeface="Arial" panose="020B0604020202020204" pitchFamily="34" charset="0"/>
              </a:rPr>
              <a:t>Krátkodobé populační predikce</a:t>
            </a:r>
            <a:endParaRPr lang="en-US" sz="4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3200" b="1" i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cs-CZ" sz="3200" b="1" i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ktualizace k 8. 12. 2022 -</a:t>
            </a:r>
            <a:endParaRPr lang="cs-CZ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1974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Jihoče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B9B2F9A8-B201-4A43-927B-92767CAD080F}"/>
              </a:ext>
            </a:extLst>
          </p:cNvPr>
          <p:cNvGrpSpPr/>
          <p:nvPr/>
        </p:nvGrpSpPr>
        <p:grpSpPr>
          <a:xfrm>
            <a:off x="11226729" y="603793"/>
            <a:ext cx="933372" cy="306063"/>
            <a:chOff x="12375318" y="1202167"/>
            <a:chExt cx="1654215" cy="542435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AEAF53BE-B74F-49C5-9A1D-EADC80700E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1275248"/>
              <a:ext cx="371898" cy="447173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16AEE8B5-DCDB-42AC-8BFE-3550B19619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760" t="24183" b="15901"/>
            <a:stretch/>
          </p:blipFill>
          <p:spPr>
            <a:xfrm>
              <a:off x="12855762" y="1202167"/>
              <a:ext cx="1173771" cy="542435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E74A7F76-2173-4639-81E0-7BFDFFE09F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77470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2" name="Obdélník 41">
            <a:extLst>
              <a:ext uri="{FF2B5EF4-FFF2-40B4-BE49-F238E27FC236}">
                <a16:creationId xmlns:a16="http://schemas.microsoft.com/office/drawing/2014/main" id="{CE8F3FB1-8F19-465F-A8B7-52E4D4988956}"/>
              </a:ext>
            </a:extLst>
          </p:cNvPr>
          <p:cNvSpPr/>
          <p:nvPr/>
        </p:nvSpPr>
        <p:spPr>
          <a:xfrm>
            <a:off x="1578061" y="369551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0985B878-71B3-43B8-BA31-269287D9D99A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5650516E-2272-4EF1-A393-26EF412C2A57}"/>
              </a:ext>
            </a:extLst>
          </p:cNvPr>
          <p:cNvSpPr txBox="1"/>
          <p:nvPr/>
        </p:nvSpPr>
        <p:spPr>
          <a:xfrm>
            <a:off x="10288944" y="2339009"/>
            <a:ext cx="1540013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2 679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 930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960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661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F0197AA2-3500-43F5-B783-DD13C3A3CA0A}"/>
              </a:ext>
            </a:extLst>
          </p:cNvPr>
          <p:cNvSpPr txBox="1"/>
          <p:nvPr/>
        </p:nvSpPr>
        <p:spPr>
          <a:xfrm>
            <a:off x="1875241" y="3600585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E332FC1D-FED7-4BFD-8B27-9BDE6191CDB5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dnech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5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až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956AA8F0-1DB9-4BBC-9F16-077E60718EE8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C774E5ED-E4E6-463D-9E72-AF9D653B57D1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rychlení, R = 1,10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88BFDAF8-ABD9-4E53-A3FB-0ECAE54ECD4B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pomalení, R = 0,90</a:t>
            </a:r>
          </a:p>
        </p:txBody>
      </p:sp>
      <p:cxnSp>
        <p:nvCxnSpPr>
          <p:cNvPr id="39" name="Přímá spojnice se šipkou 38">
            <a:extLst>
              <a:ext uri="{FF2B5EF4-FFF2-40B4-BE49-F238E27FC236}">
                <a16:creationId xmlns:a16="http://schemas.microsoft.com/office/drawing/2014/main" id="{CC56A1B0-D6B9-4819-98F9-28744A8F7BD7}"/>
              </a:ext>
            </a:extLst>
          </p:cNvPr>
          <p:cNvCxnSpPr>
            <a:cxnSpLocks/>
            <a:stCxn id="36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0" name="Přímá spojnice se šipkou 39">
            <a:extLst>
              <a:ext uri="{FF2B5EF4-FFF2-40B4-BE49-F238E27FC236}">
                <a16:creationId xmlns:a16="http://schemas.microsoft.com/office/drawing/2014/main" id="{AE2546D2-B5A0-4123-8E61-BDB3B81BB5E8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10404F59-A1AA-492B-A63B-63C1BEC5F477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</p:txBody>
      </p:sp>
      <p:cxnSp>
        <p:nvCxnSpPr>
          <p:cNvPr id="43" name="Přímá spojnice 42">
            <a:extLst>
              <a:ext uri="{FF2B5EF4-FFF2-40B4-BE49-F238E27FC236}">
                <a16:creationId xmlns:a16="http://schemas.microsoft.com/office/drawing/2014/main" id="{60DED2B5-AF10-4187-ABF4-BB6888D450A8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6CD50E26-E91B-4EB8-8F5B-E3FB266DAE4A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05</a:t>
            </a:r>
          </a:p>
        </p:txBody>
      </p:sp>
      <p:cxnSp>
        <p:nvCxnSpPr>
          <p:cNvPr id="55" name="Přímá spojnice 54">
            <a:extLst>
              <a:ext uri="{FF2B5EF4-FFF2-40B4-BE49-F238E27FC236}">
                <a16:creationId xmlns:a16="http://schemas.microsoft.com/office/drawing/2014/main" id="{40284E83-F532-47DD-8047-96817E6939F5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56" name="Přímá spojnice 55">
            <a:extLst>
              <a:ext uri="{FF2B5EF4-FFF2-40B4-BE49-F238E27FC236}">
                <a16:creationId xmlns:a16="http://schemas.microsoft.com/office/drawing/2014/main" id="{051E62EE-0F94-4793-B27E-A7708FEF6D1A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58" name="TextovéPole 57">
            <a:extLst>
              <a:ext uri="{FF2B5EF4-FFF2-40B4-BE49-F238E27FC236}">
                <a16:creationId xmlns:a16="http://schemas.microsoft.com/office/drawing/2014/main" id="{10263E9C-7842-4584-8F90-412F4EAB709E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3. 12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BE639362-14F9-40EB-9644-6FB2ED425573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5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350AAB82-4C01-418C-964C-CEFB0F3168B4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2923120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Jihoče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44E56BAA-D2B6-477F-92E5-91C0FE4B889D}"/>
              </a:ext>
            </a:extLst>
          </p:cNvPr>
          <p:cNvGrpSpPr/>
          <p:nvPr/>
        </p:nvGrpSpPr>
        <p:grpSpPr>
          <a:xfrm>
            <a:off x="11226729" y="603793"/>
            <a:ext cx="933372" cy="306063"/>
            <a:chOff x="12375318" y="1202167"/>
            <a:chExt cx="1654215" cy="542435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A3DF257B-B72D-4A98-990E-9A7F81FB76F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1275248"/>
              <a:ext cx="371898" cy="447173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5F9C1474-D0A7-48EC-9CE7-C3A528AF63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760" t="24183" b="15901"/>
            <a:stretch/>
          </p:blipFill>
          <p:spPr>
            <a:xfrm>
              <a:off x="12855762" y="1202167"/>
              <a:ext cx="1173771" cy="542435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A817F772-1398-44AE-8A9E-27BA3BC9F4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07932881"/>
              </p:ext>
            </p:extLst>
          </p:nvPr>
        </p:nvGraphicFramePr>
        <p:xfrm>
          <a:off x="290212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9C2A8E74-22FB-46C4-9B5E-FF2199882A5D}"/>
              </a:ext>
            </a:extLst>
          </p:cNvPr>
          <p:cNvSpPr txBox="1"/>
          <p:nvPr/>
        </p:nvSpPr>
        <p:spPr>
          <a:xfrm rot="16200000">
            <a:off x="-1572039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88ABBC53-C650-4CB5-9EFD-2370B83A3062}"/>
              </a:ext>
            </a:extLst>
          </p:cNvPr>
          <p:cNvSpPr txBox="1"/>
          <p:nvPr/>
        </p:nvSpPr>
        <p:spPr>
          <a:xfrm>
            <a:off x="11340447" y="529000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9F1F2AE9-618D-4371-AA53-2386A938983A}"/>
              </a:ext>
            </a:extLst>
          </p:cNvPr>
          <p:cNvSpPr txBox="1"/>
          <p:nvPr/>
        </p:nvSpPr>
        <p:spPr>
          <a:xfrm>
            <a:off x="11340447" y="552961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FDB4222-C3CB-463D-B0F3-D2C63F3BAA25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. 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ve dnech 25. 11. až 2. 12.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Obdélník 42">
            <a:extLst>
              <a:ext uri="{FF2B5EF4-FFF2-40B4-BE49-F238E27FC236}">
                <a16:creationId xmlns:a16="http://schemas.microsoft.com/office/drawing/2014/main" id="{46E39526-E870-4408-98CD-B3C72AED0160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244CD561-C5DA-429A-ADB3-4D8AA60B0405}"/>
              </a:ext>
            </a:extLst>
          </p:cNvPr>
          <p:cNvSpPr txBox="1"/>
          <p:nvPr/>
        </p:nvSpPr>
        <p:spPr>
          <a:xfrm>
            <a:off x="8062317" y="1024327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2 408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1 778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93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661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91A6D4E5-92DA-42E7-8C62-D1D24323430F}"/>
              </a:ext>
            </a:extLst>
          </p:cNvPr>
          <p:cNvSpPr txBox="1"/>
          <p:nvPr/>
        </p:nvSpPr>
        <p:spPr>
          <a:xfrm>
            <a:off x="7548235" y="670679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142C821C-B2D3-479E-851C-D0590D008856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97CFD9-A83D-4571-A73A-B49DD0FAF5DB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cxnSp>
        <p:nvCxnSpPr>
          <p:cNvPr id="28" name="Přímá spojnice 27">
            <a:extLst>
              <a:ext uri="{FF2B5EF4-FFF2-40B4-BE49-F238E27FC236}">
                <a16:creationId xmlns:a16="http://schemas.microsoft.com/office/drawing/2014/main" id="{51A45A49-E904-4796-BC72-77072B760B85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EA619123-CF72-441B-ABF9-4EC8F863613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05</a:t>
            </a:r>
          </a:p>
        </p:txBody>
      </p:sp>
      <p:cxnSp>
        <p:nvCxnSpPr>
          <p:cNvPr id="30" name="Přímá spojnice 29">
            <a:extLst>
              <a:ext uri="{FF2B5EF4-FFF2-40B4-BE49-F238E27FC236}">
                <a16:creationId xmlns:a16="http://schemas.microsoft.com/office/drawing/2014/main" id="{8E48E791-80FB-4394-BD21-0415E211F934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F50E2647-62C8-4B7A-B99E-4B5CA73D68F2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1D7386BB-D8C7-440A-BBB8-6A40FE15ECA2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3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D254EBCB-FBC6-4415-947A-A7109F86FD35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37" name="Přímá spojnice 36">
            <a:extLst>
              <a:ext uri="{FF2B5EF4-FFF2-40B4-BE49-F238E27FC236}">
                <a16:creationId xmlns:a16="http://schemas.microsoft.com/office/drawing/2014/main" id="{0D567A9E-14FA-4481-8CD2-985C41464F1B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47344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Plzeň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C62FD582-F127-4B26-8DD9-E7C97F101DA5}"/>
              </a:ext>
            </a:extLst>
          </p:cNvPr>
          <p:cNvGrpSpPr/>
          <p:nvPr/>
        </p:nvGrpSpPr>
        <p:grpSpPr>
          <a:xfrm>
            <a:off x="10808484" y="603203"/>
            <a:ext cx="1351617" cy="270349"/>
            <a:chOff x="12377686" y="5757722"/>
            <a:chExt cx="1982477" cy="396533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2D95C4C7-A26F-406C-9CEE-DD7B329036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7686" y="5788188"/>
              <a:ext cx="304979" cy="365828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E1FE654C-29EB-40A0-B22D-E3EE463F233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45786" y="5757722"/>
              <a:ext cx="1514377" cy="396533"/>
            </a:xfrm>
            <a:prstGeom prst="rect">
              <a:avLst/>
            </a:prstGeom>
          </p:spPr>
        </p:pic>
      </p:grpSp>
      <p:graphicFrame>
        <p:nvGraphicFramePr>
          <p:cNvPr id="25" name="Chart 4">
            <a:extLst>
              <a:ext uri="{FF2B5EF4-FFF2-40B4-BE49-F238E27FC236}">
                <a16:creationId xmlns:a16="http://schemas.microsoft.com/office/drawing/2014/main" id="{5D038867-9827-497F-BB93-3FFEA37343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6948919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Obdélník 55">
            <a:extLst>
              <a:ext uri="{FF2B5EF4-FFF2-40B4-BE49-F238E27FC236}">
                <a16:creationId xmlns:a16="http://schemas.microsoft.com/office/drawing/2014/main" id="{40AA1B24-61EF-413A-9CBD-006075ADCCD0}"/>
              </a:ext>
            </a:extLst>
          </p:cNvPr>
          <p:cNvSpPr/>
          <p:nvPr/>
        </p:nvSpPr>
        <p:spPr>
          <a:xfrm>
            <a:off x="1461822" y="368694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23736672-A58E-4850-9B04-89DCB84759A5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0CB88ED8-D88B-4426-9FF7-EB39A57996D0}"/>
              </a:ext>
            </a:extLst>
          </p:cNvPr>
          <p:cNvSpPr txBox="1"/>
          <p:nvPr/>
        </p:nvSpPr>
        <p:spPr>
          <a:xfrm>
            <a:off x="10231328" y="2358704"/>
            <a:ext cx="1570169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 821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 312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652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449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4BAD8F2C-F595-4DC0-BB96-0518D6CC1167}"/>
              </a:ext>
            </a:extLst>
          </p:cNvPr>
          <p:cNvSpPr txBox="1"/>
          <p:nvPr/>
        </p:nvSpPr>
        <p:spPr>
          <a:xfrm>
            <a:off x="1756075" y="3589933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bdélník 28">
            <a:extLst>
              <a:ext uri="{FF2B5EF4-FFF2-40B4-BE49-F238E27FC236}">
                <a16:creationId xmlns:a16="http://schemas.microsoft.com/office/drawing/2014/main" id="{6BE9E9D7-C25F-4DEC-AFFA-5ECAF7158D8D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dnech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5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až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FB2E1785-7449-469C-BC59-A12C66E55344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41397EBB-5BE1-451F-A940-4FE86B289E70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rychlení, R = 1,10</a:t>
            </a: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25A9D910-E65C-4D02-AFB2-4397D472C003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pomalení, R = 0,90</a:t>
            </a:r>
          </a:p>
        </p:txBody>
      </p:sp>
      <p:cxnSp>
        <p:nvCxnSpPr>
          <p:cNvPr id="48" name="Přímá spojnice se šipkou 47">
            <a:extLst>
              <a:ext uri="{FF2B5EF4-FFF2-40B4-BE49-F238E27FC236}">
                <a16:creationId xmlns:a16="http://schemas.microsoft.com/office/drawing/2014/main" id="{E9DD1B32-2F98-4291-B2A1-858D471FDB7C}"/>
              </a:ext>
            </a:extLst>
          </p:cNvPr>
          <p:cNvCxnSpPr>
            <a:cxnSpLocks/>
            <a:stCxn id="32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9" name="Přímá spojnice se šipkou 48">
            <a:extLst>
              <a:ext uri="{FF2B5EF4-FFF2-40B4-BE49-F238E27FC236}">
                <a16:creationId xmlns:a16="http://schemas.microsoft.com/office/drawing/2014/main" id="{3CB03C28-889E-4EF5-A294-F65C295CD26E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93DA96FF-1C82-4F05-BAFA-41015FBE3EAE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</p:txBody>
      </p:sp>
      <p:cxnSp>
        <p:nvCxnSpPr>
          <p:cNvPr id="54" name="Přímá spojnice 53">
            <a:extLst>
              <a:ext uri="{FF2B5EF4-FFF2-40B4-BE49-F238E27FC236}">
                <a16:creationId xmlns:a16="http://schemas.microsoft.com/office/drawing/2014/main" id="{0CB241FA-E69B-497A-A97C-7AD1D22DBC40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040E90D4-F7E4-4371-8BCF-4CA5781E6673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05</a:t>
            </a:r>
          </a:p>
        </p:txBody>
      </p:sp>
      <p:cxnSp>
        <p:nvCxnSpPr>
          <p:cNvPr id="57" name="Přímá spojnice 56">
            <a:extLst>
              <a:ext uri="{FF2B5EF4-FFF2-40B4-BE49-F238E27FC236}">
                <a16:creationId xmlns:a16="http://schemas.microsoft.com/office/drawing/2014/main" id="{8E6E5CA1-7583-49F2-8C70-A4329BE6C435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5467A9FA-DDF2-4CAD-A812-656945697B37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DCD28EE9-083A-4274-9FDE-1FEB45BD6B63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3. 12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7504A04-64CB-4D96-8F22-BC87172F70DE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5</a:t>
            </a:r>
          </a:p>
        </p:txBody>
      </p: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B7FE58A4-4418-42BF-954C-303A4E704681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0589621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Plzeň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769A89A7-DAB2-440B-B308-CC59CEAFF99B}"/>
              </a:ext>
            </a:extLst>
          </p:cNvPr>
          <p:cNvGrpSpPr/>
          <p:nvPr/>
        </p:nvGrpSpPr>
        <p:grpSpPr>
          <a:xfrm>
            <a:off x="10808484" y="603203"/>
            <a:ext cx="1351617" cy="270349"/>
            <a:chOff x="12377686" y="5757722"/>
            <a:chExt cx="1982477" cy="396533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A8D76F95-54CC-4BF7-9E50-277CA7F9C3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7686" y="5788188"/>
              <a:ext cx="304979" cy="365828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05C61523-313B-457A-BE4A-AF29BAB17E6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45786" y="5757722"/>
              <a:ext cx="1514377" cy="396533"/>
            </a:xfrm>
            <a:prstGeom prst="rect">
              <a:avLst/>
            </a:prstGeom>
          </p:spPr>
        </p:pic>
      </p:grpSp>
      <p:graphicFrame>
        <p:nvGraphicFramePr>
          <p:cNvPr id="23" name="Chart 4">
            <a:extLst>
              <a:ext uri="{FF2B5EF4-FFF2-40B4-BE49-F238E27FC236}">
                <a16:creationId xmlns:a16="http://schemas.microsoft.com/office/drawing/2014/main" id="{61FF1AAF-B9A2-458B-9741-4247E17FFB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45711362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4" name="TextBox 6">
            <a:extLst>
              <a:ext uri="{FF2B5EF4-FFF2-40B4-BE49-F238E27FC236}">
                <a16:creationId xmlns:a16="http://schemas.microsoft.com/office/drawing/2014/main" id="{684CCF87-CC70-479D-ADC3-6E9E0F99A046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58" name="TextovéPole 57">
            <a:extLst>
              <a:ext uri="{FF2B5EF4-FFF2-40B4-BE49-F238E27FC236}">
                <a16:creationId xmlns:a16="http://schemas.microsoft.com/office/drawing/2014/main" id="{B8EC1509-4F26-4045-B315-DA57B28BFA72}"/>
              </a:ext>
            </a:extLst>
          </p:cNvPr>
          <p:cNvSpPr txBox="1"/>
          <p:nvPr/>
        </p:nvSpPr>
        <p:spPr>
          <a:xfrm>
            <a:off x="11589311" y="5257902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440AC9D3-763F-400F-99DC-ED27E3DBAE0B}"/>
              </a:ext>
            </a:extLst>
          </p:cNvPr>
          <p:cNvSpPr txBox="1"/>
          <p:nvPr/>
        </p:nvSpPr>
        <p:spPr>
          <a:xfrm>
            <a:off x="11599020" y="5500833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3F5C76EA-91EE-4D5D-B984-81E5F286244F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. 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ve dnech 25. 11. až 2. 12.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82EBB6B7-062D-447E-96CA-5BE2705A61F1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769FC660-2E89-464C-AD69-6F1CD9DE3040}"/>
              </a:ext>
            </a:extLst>
          </p:cNvPr>
          <p:cNvSpPr txBox="1"/>
          <p:nvPr/>
        </p:nvSpPr>
        <p:spPr>
          <a:xfrm>
            <a:off x="8419885" y="1052118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1 78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1 316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690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489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EAA66098-CDDE-4098-BA32-369CC05B369F}"/>
              </a:ext>
            </a:extLst>
          </p:cNvPr>
          <p:cNvSpPr txBox="1"/>
          <p:nvPr/>
        </p:nvSpPr>
        <p:spPr>
          <a:xfrm>
            <a:off x="7905803" y="698470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F6DF6DF2-B8EF-4E44-AE18-A9F01855EA9D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8EF5FCD6-D58E-4679-AEAE-BCE352DA3330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cxnSp>
        <p:nvCxnSpPr>
          <p:cNvPr id="28" name="Přímá spojnice 27">
            <a:extLst>
              <a:ext uri="{FF2B5EF4-FFF2-40B4-BE49-F238E27FC236}">
                <a16:creationId xmlns:a16="http://schemas.microsoft.com/office/drawing/2014/main" id="{B0A6764A-1143-448B-88D2-C104260D23E2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B1E967DF-AA73-4929-89F6-F2B120842A98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05</a:t>
            </a:r>
          </a:p>
        </p:txBody>
      </p:sp>
      <p:cxnSp>
        <p:nvCxnSpPr>
          <p:cNvPr id="30" name="Přímá spojnice 29">
            <a:extLst>
              <a:ext uri="{FF2B5EF4-FFF2-40B4-BE49-F238E27FC236}">
                <a16:creationId xmlns:a16="http://schemas.microsoft.com/office/drawing/2014/main" id="{B8CE9319-1286-4C02-9570-AA77E3557A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BA543782-565E-46EF-92CF-DE81ADB6D239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4C2B650E-8748-4FF9-81D4-5B97C367F661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3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716D172D-C5D5-437E-9E07-69BD06F468AF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48" name="Přímá spojnice 47">
            <a:extLst>
              <a:ext uri="{FF2B5EF4-FFF2-40B4-BE49-F238E27FC236}">
                <a16:creationId xmlns:a16="http://schemas.microsoft.com/office/drawing/2014/main" id="{567DA857-698E-4BBD-8FFD-776BB749CF32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34747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Karlovar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FFBFC422-E236-4B21-AB38-11C2E04C46CE}"/>
              </a:ext>
            </a:extLst>
          </p:cNvPr>
          <p:cNvGrpSpPr/>
          <p:nvPr/>
        </p:nvGrpSpPr>
        <p:grpSpPr>
          <a:xfrm>
            <a:off x="10932032" y="591658"/>
            <a:ext cx="1158835" cy="360249"/>
            <a:chOff x="12375318" y="2247704"/>
            <a:chExt cx="1580446" cy="491316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D0D3736C-EAE3-484F-AA0F-92A696BFF6A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2284346"/>
              <a:ext cx="377379" cy="454674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14B45D1E-2D06-41E6-A578-E0B71576AF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82808" y="2247704"/>
              <a:ext cx="1072956" cy="490274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AA678E63-6786-48FF-A3BC-E2ECA97836A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6254725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5" name="Obdélník 54">
            <a:extLst>
              <a:ext uri="{FF2B5EF4-FFF2-40B4-BE49-F238E27FC236}">
                <a16:creationId xmlns:a16="http://schemas.microsoft.com/office/drawing/2014/main" id="{AFFEE0C2-2851-4C21-A686-5C13250FDC48}"/>
              </a:ext>
            </a:extLst>
          </p:cNvPr>
          <p:cNvSpPr/>
          <p:nvPr/>
        </p:nvSpPr>
        <p:spPr>
          <a:xfrm>
            <a:off x="1544708" y="377372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Box 6">
            <a:extLst>
              <a:ext uri="{FF2B5EF4-FFF2-40B4-BE49-F238E27FC236}">
                <a16:creationId xmlns:a16="http://schemas.microsoft.com/office/drawing/2014/main" id="{DB6A8200-226E-47CF-B2ED-9063BF01BC7B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31F6003A-46B9-43BB-8252-6C94D3F05B34}"/>
              </a:ext>
            </a:extLst>
          </p:cNvPr>
          <p:cNvSpPr txBox="1"/>
          <p:nvPr/>
        </p:nvSpPr>
        <p:spPr>
          <a:xfrm>
            <a:off x="10309373" y="2406399"/>
            <a:ext cx="1522023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451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325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62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11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D70D5697-CF1F-4124-BDDF-290FB0CE5B83}"/>
              </a:ext>
            </a:extLst>
          </p:cNvPr>
          <p:cNvSpPr txBox="1"/>
          <p:nvPr/>
        </p:nvSpPr>
        <p:spPr>
          <a:xfrm>
            <a:off x="1857486" y="3589933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bdélník 28">
            <a:extLst>
              <a:ext uri="{FF2B5EF4-FFF2-40B4-BE49-F238E27FC236}">
                <a16:creationId xmlns:a16="http://schemas.microsoft.com/office/drawing/2014/main" id="{8F439A09-F811-4D1F-84F0-5783DEDA1ACF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dnech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5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až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BE175DCE-5F20-4286-A171-C58024EB6CBE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A102EA92-D5DD-4845-A5DD-54742FC00B30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rychlení, R = 1,10</a:t>
            </a: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40218DD1-C09B-457B-B1E5-96D571069204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pomalení, R = 0,90</a:t>
            </a:r>
          </a:p>
        </p:txBody>
      </p:sp>
      <p:cxnSp>
        <p:nvCxnSpPr>
          <p:cNvPr id="48" name="Přímá spojnice se šipkou 47">
            <a:extLst>
              <a:ext uri="{FF2B5EF4-FFF2-40B4-BE49-F238E27FC236}">
                <a16:creationId xmlns:a16="http://schemas.microsoft.com/office/drawing/2014/main" id="{361617B3-5B78-41A6-A656-7ED149DD1285}"/>
              </a:ext>
            </a:extLst>
          </p:cNvPr>
          <p:cNvCxnSpPr>
            <a:cxnSpLocks/>
            <a:stCxn id="45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9" name="Přímá spojnice se šipkou 48">
            <a:extLst>
              <a:ext uri="{FF2B5EF4-FFF2-40B4-BE49-F238E27FC236}">
                <a16:creationId xmlns:a16="http://schemas.microsoft.com/office/drawing/2014/main" id="{4569048E-4E2C-4445-A79B-31973E653BD8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37F603E7-3758-46DA-B5D3-ECD3B14907C2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</p:txBody>
      </p:sp>
      <p:cxnSp>
        <p:nvCxnSpPr>
          <p:cNvPr id="51" name="Přímá spojnice 50">
            <a:extLst>
              <a:ext uri="{FF2B5EF4-FFF2-40B4-BE49-F238E27FC236}">
                <a16:creationId xmlns:a16="http://schemas.microsoft.com/office/drawing/2014/main" id="{2EFD2E52-730B-4DF6-B134-9225C22865FD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3D9EFC69-87F4-46AB-8014-D2C46F80AF10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05</a:t>
            </a:r>
          </a:p>
        </p:txBody>
      </p:sp>
      <p:cxnSp>
        <p:nvCxnSpPr>
          <p:cNvPr id="57" name="Přímá spojnice 56">
            <a:extLst>
              <a:ext uri="{FF2B5EF4-FFF2-40B4-BE49-F238E27FC236}">
                <a16:creationId xmlns:a16="http://schemas.microsoft.com/office/drawing/2014/main" id="{F88E9887-EFB0-4C51-9819-38E6627F6601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E7E299CF-2D24-421A-8465-F82EAA628C9A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503135ED-752B-4875-BD6F-96FD686FBF28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3. 12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B0972DB0-3510-4938-8DB1-D00A6FB39900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5</a:t>
            </a:r>
          </a:p>
        </p:txBody>
      </p: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736E360F-2371-43A0-9B5D-F62A3D038393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4959027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Karlovar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776E8261-2B67-4C33-B4F7-528BFCEC26E0}"/>
              </a:ext>
            </a:extLst>
          </p:cNvPr>
          <p:cNvGrpSpPr/>
          <p:nvPr/>
        </p:nvGrpSpPr>
        <p:grpSpPr>
          <a:xfrm>
            <a:off x="10932032" y="583269"/>
            <a:ext cx="1158835" cy="360249"/>
            <a:chOff x="12375318" y="2247704"/>
            <a:chExt cx="1580446" cy="491316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CC6750D1-766B-4DC6-A446-888FBBECA4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2284346"/>
              <a:ext cx="377379" cy="454674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EA8558FC-EC62-4A66-84EF-00BCCE67853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82808" y="2247704"/>
              <a:ext cx="1072956" cy="490274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526224FA-9FB7-4B1B-A3B8-F29890F54B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08572223"/>
              </p:ext>
            </p:extLst>
          </p:nvPr>
        </p:nvGraphicFramePr>
        <p:xfrm>
          <a:off x="254705" y="1205099"/>
          <a:ext cx="11354940" cy="5758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CFB01BA7-B3B3-43DD-A979-3DB4E10D06CE}"/>
              </a:ext>
            </a:extLst>
          </p:cNvPr>
          <p:cNvSpPr txBox="1"/>
          <p:nvPr/>
        </p:nvSpPr>
        <p:spPr>
          <a:xfrm rot="16200000">
            <a:off x="-1499672" y="3699517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FAB4FD73-3EC5-4F0B-8CE3-063C5021AA9E}"/>
              </a:ext>
            </a:extLst>
          </p:cNvPr>
          <p:cNvSpPr txBox="1"/>
          <p:nvPr/>
        </p:nvSpPr>
        <p:spPr>
          <a:xfrm>
            <a:off x="11299031" y="5134076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799379C0-2EB0-44E8-9795-0B0398F3DA95}"/>
              </a:ext>
            </a:extLst>
          </p:cNvPr>
          <p:cNvSpPr txBox="1"/>
          <p:nvPr/>
        </p:nvSpPr>
        <p:spPr>
          <a:xfrm>
            <a:off x="11284167" y="5581658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E2836687-AA6B-496F-84C6-4B6D9D9B0660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. 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ve dnech 25. 11. až 2. 12.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853ABAEA-A564-4602-BFC5-0B375F26CB37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742A42C2-E613-40B3-A150-EAD354D25650}"/>
              </a:ext>
            </a:extLst>
          </p:cNvPr>
          <p:cNvSpPr txBox="1"/>
          <p:nvPr/>
        </p:nvSpPr>
        <p:spPr>
          <a:xfrm>
            <a:off x="7906782" y="1127125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889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657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344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244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53AC7E85-6C59-447F-9C1E-598E4C6BA065}"/>
              </a:ext>
            </a:extLst>
          </p:cNvPr>
          <p:cNvSpPr txBox="1"/>
          <p:nvPr/>
        </p:nvSpPr>
        <p:spPr>
          <a:xfrm>
            <a:off x="7392700" y="773477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9799EE7D-3E47-4851-8690-5037E23C3DFC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18363B4C-42A9-476F-B059-B733689340B9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cxnSp>
        <p:nvCxnSpPr>
          <p:cNvPr id="28" name="Přímá spojnice 27">
            <a:extLst>
              <a:ext uri="{FF2B5EF4-FFF2-40B4-BE49-F238E27FC236}">
                <a16:creationId xmlns:a16="http://schemas.microsoft.com/office/drawing/2014/main" id="{1BBDB145-F451-4E1E-950E-A072DAE2C2D9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3BD33251-5244-4DD5-8B33-F8CC80BD9DAB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05</a:t>
            </a:r>
          </a:p>
        </p:txBody>
      </p:sp>
      <p:cxnSp>
        <p:nvCxnSpPr>
          <p:cNvPr id="30" name="Přímá spojnice 29">
            <a:extLst>
              <a:ext uri="{FF2B5EF4-FFF2-40B4-BE49-F238E27FC236}">
                <a16:creationId xmlns:a16="http://schemas.microsoft.com/office/drawing/2014/main" id="{DFC14BDF-7C24-4793-AC29-B8D93EB048D4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960AE894-B0BE-414B-AC7F-D8AEEF629B1A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6001701A-BB0E-4E4D-8E81-DD52235C4193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3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FBDF0C65-8DC2-4099-98FD-3CFECF908958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48" name="Přímá spojnice 47">
            <a:extLst>
              <a:ext uri="{FF2B5EF4-FFF2-40B4-BE49-F238E27FC236}">
                <a16:creationId xmlns:a16="http://schemas.microsoft.com/office/drawing/2014/main" id="{A5225329-5F1D-46F9-86EC-6E4B849BE031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87286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</a:t>
            </a:r>
            <a:r>
              <a:rPr lang="cs-CZ" dirty="0"/>
              <a:t>Ústecký</a:t>
            </a:r>
            <a:r>
              <a:rPr lang="cs-CZ" dirty="0">
                <a:latin typeface="+mj-lt"/>
              </a:rPr>
              <a:t>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55CA98E9-3F12-45A5-B245-E25115DAE662}"/>
              </a:ext>
            </a:extLst>
          </p:cNvPr>
          <p:cNvGrpSpPr/>
          <p:nvPr/>
        </p:nvGrpSpPr>
        <p:grpSpPr>
          <a:xfrm>
            <a:off x="11002009" y="622266"/>
            <a:ext cx="1106941" cy="258352"/>
            <a:chOff x="12381998" y="598524"/>
            <a:chExt cx="2097028" cy="489432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1010AB9B-9544-4928-B356-5BDE371FA8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81998" y="608400"/>
              <a:ext cx="388441" cy="4795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9862A44F-3ED3-415B-B88C-C1161FBFD8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1434" y="598524"/>
              <a:ext cx="1627592" cy="470468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D7ABFEE1-0546-4345-AE0D-B2F2EED923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2321556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5" name="TextBox 6">
            <a:extLst>
              <a:ext uri="{FF2B5EF4-FFF2-40B4-BE49-F238E27FC236}">
                <a16:creationId xmlns:a16="http://schemas.microsoft.com/office/drawing/2014/main" id="{ADFEFBA8-9304-4BCA-80CA-DD4F446C8F42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F79EC9A5-F097-492F-A3CF-08677F01AC16}"/>
              </a:ext>
            </a:extLst>
          </p:cNvPr>
          <p:cNvSpPr txBox="1"/>
          <p:nvPr/>
        </p:nvSpPr>
        <p:spPr>
          <a:xfrm>
            <a:off x="10220464" y="2351960"/>
            <a:ext cx="1563090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2 542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 831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911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627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65" name="Obdélník 64">
            <a:extLst>
              <a:ext uri="{FF2B5EF4-FFF2-40B4-BE49-F238E27FC236}">
                <a16:creationId xmlns:a16="http://schemas.microsoft.com/office/drawing/2014/main" id="{75826619-C727-43C1-8611-52D155842442}"/>
              </a:ext>
            </a:extLst>
          </p:cNvPr>
          <p:cNvSpPr/>
          <p:nvPr/>
        </p:nvSpPr>
        <p:spPr>
          <a:xfrm>
            <a:off x="1569184" y="370153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070CDD84-EB74-4AF6-BBD1-CBEFA387AD29}"/>
              </a:ext>
            </a:extLst>
          </p:cNvPr>
          <p:cNvSpPr txBox="1"/>
          <p:nvPr/>
        </p:nvSpPr>
        <p:spPr>
          <a:xfrm>
            <a:off x="1866364" y="3649728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bdélník 28">
            <a:extLst>
              <a:ext uri="{FF2B5EF4-FFF2-40B4-BE49-F238E27FC236}">
                <a16:creationId xmlns:a16="http://schemas.microsoft.com/office/drawing/2014/main" id="{3A0E7993-FC05-43AD-A1EE-88A877947A25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dnech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5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až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C37D8035-0554-49CA-A38F-FD8486E01E91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07D5A69D-88BD-4A2B-BE87-A82EEA9BFB6D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rychlení, R = 1,10</a:t>
            </a: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0327F986-E8DE-4B71-99D3-EB5D70B45A6B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pomalení, R = 0,90</a:t>
            </a:r>
          </a:p>
        </p:txBody>
      </p:sp>
      <p:cxnSp>
        <p:nvCxnSpPr>
          <p:cNvPr id="48" name="Přímá spojnice se šipkou 47">
            <a:extLst>
              <a:ext uri="{FF2B5EF4-FFF2-40B4-BE49-F238E27FC236}">
                <a16:creationId xmlns:a16="http://schemas.microsoft.com/office/drawing/2014/main" id="{54102998-CC62-4472-A06C-4D4580A850E7}"/>
              </a:ext>
            </a:extLst>
          </p:cNvPr>
          <p:cNvCxnSpPr>
            <a:cxnSpLocks/>
            <a:stCxn id="45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9" name="Přímá spojnice se šipkou 48">
            <a:extLst>
              <a:ext uri="{FF2B5EF4-FFF2-40B4-BE49-F238E27FC236}">
                <a16:creationId xmlns:a16="http://schemas.microsoft.com/office/drawing/2014/main" id="{FA39496D-8AEE-4F32-96A7-FEE3B5032CCA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363A4FA7-ED32-4CD4-A8A9-C52E429362E6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</p:txBody>
      </p:sp>
      <p:cxnSp>
        <p:nvCxnSpPr>
          <p:cNvPr id="51" name="Přímá spojnice 50">
            <a:extLst>
              <a:ext uri="{FF2B5EF4-FFF2-40B4-BE49-F238E27FC236}">
                <a16:creationId xmlns:a16="http://schemas.microsoft.com/office/drawing/2014/main" id="{7AA2D156-BF13-4FF6-AFE4-429CDBD906F1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472C0AB4-3AA5-47C7-9ECC-BE64F008C4F1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05</a:t>
            </a:r>
          </a:p>
        </p:txBody>
      </p:sp>
      <p:cxnSp>
        <p:nvCxnSpPr>
          <p:cNvPr id="56" name="Přímá spojnice 55">
            <a:extLst>
              <a:ext uri="{FF2B5EF4-FFF2-40B4-BE49-F238E27FC236}">
                <a16:creationId xmlns:a16="http://schemas.microsoft.com/office/drawing/2014/main" id="{60A82011-EE7F-4729-98C7-09B8CC066BFC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57" name="Přímá spojnice 56">
            <a:extLst>
              <a:ext uri="{FF2B5EF4-FFF2-40B4-BE49-F238E27FC236}">
                <a16:creationId xmlns:a16="http://schemas.microsoft.com/office/drawing/2014/main" id="{654B58A3-FF4C-4275-94FA-EF89926A89D7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58" name="TextovéPole 57">
            <a:extLst>
              <a:ext uri="{FF2B5EF4-FFF2-40B4-BE49-F238E27FC236}">
                <a16:creationId xmlns:a16="http://schemas.microsoft.com/office/drawing/2014/main" id="{06BB0FC3-760B-4DC9-B514-BDBDE03141B0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3. 12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838BBF93-C048-4663-9F37-8336D72BB91B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5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2ABC6BB7-B4C1-4AC7-9DEB-1A9259E25841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1741724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Úst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D6F6FC35-B8B3-4DB0-86D7-49EAD913D3DA}"/>
              </a:ext>
            </a:extLst>
          </p:cNvPr>
          <p:cNvGrpSpPr/>
          <p:nvPr/>
        </p:nvGrpSpPr>
        <p:grpSpPr>
          <a:xfrm>
            <a:off x="11002009" y="622266"/>
            <a:ext cx="1106941" cy="258352"/>
            <a:chOff x="12381998" y="598524"/>
            <a:chExt cx="2097028" cy="489432"/>
          </a:xfrm>
        </p:grpSpPr>
        <p:pic>
          <p:nvPicPr>
            <p:cNvPr id="33" name="Picture 2">
              <a:extLst>
                <a:ext uri="{FF2B5EF4-FFF2-40B4-BE49-F238E27FC236}">
                  <a16:creationId xmlns:a16="http://schemas.microsoft.com/office/drawing/2014/main" id="{FBF10BED-F1F7-4361-BEC4-47E381B673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81998" y="608400"/>
              <a:ext cx="388441" cy="4795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BB15BC3C-9CDB-4C5F-A62C-DE2A8D4D332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1434" y="598524"/>
              <a:ext cx="1627592" cy="470468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7ADD7188-A0C7-4A07-8FED-860A600B8A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92010350"/>
              </p:ext>
            </p:extLst>
          </p:nvPr>
        </p:nvGraphicFramePr>
        <p:xfrm>
          <a:off x="556549" y="1311634"/>
          <a:ext cx="11354940" cy="56050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991F6454-ECF1-41FD-B341-F22744CEB1AB}"/>
              </a:ext>
            </a:extLst>
          </p:cNvPr>
          <p:cNvSpPr txBox="1"/>
          <p:nvPr/>
        </p:nvSpPr>
        <p:spPr>
          <a:xfrm rot="16200000">
            <a:off x="-1263868" y="368992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98A62AAF-2CB0-4E8B-91BA-4B8965255F3A}"/>
              </a:ext>
            </a:extLst>
          </p:cNvPr>
          <p:cNvSpPr txBox="1"/>
          <p:nvPr/>
        </p:nvSpPr>
        <p:spPr>
          <a:xfrm>
            <a:off x="11611832" y="5311002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DB4D4B02-CC39-426C-83D8-65A9DD8A16E6}"/>
              </a:ext>
            </a:extLst>
          </p:cNvPr>
          <p:cNvSpPr txBox="1"/>
          <p:nvPr/>
        </p:nvSpPr>
        <p:spPr>
          <a:xfrm>
            <a:off x="11611833" y="5590273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038BBE9-3C3D-4D78-A653-665110142D6D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. 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ve dnech 25. 11. až 2. 12.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0F94A3B5-2F8D-4980-B9C0-8907DCB92932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E1D265C5-207B-47F6-9C6A-9F219ABC1BAF}"/>
              </a:ext>
            </a:extLst>
          </p:cNvPr>
          <p:cNvSpPr txBox="1"/>
          <p:nvPr/>
        </p:nvSpPr>
        <p:spPr>
          <a:xfrm>
            <a:off x="8747923" y="1146840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1 799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1 329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697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494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21084F36-D66A-49EA-B8D7-50EA85FDB286}"/>
              </a:ext>
            </a:extLst>
          </p:cNvPr>
          <p:cNvSpPr txBox="1"/>
          <p:nvPr/>
        </p:nvSpPr>
        <p:spPr>
          <a:xfrm>
            <a:off x="8233841" y="79319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1349FBE5-A475-4E62-A391-1145D8747202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38CBADC8-8D61-428F-AECD-C22EF65F8450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cxnSp>
        <p:nvCxnSpPr>
          <p:cNvPr id="28" name="Přímá spojnice 27">
            <a:extLst>
              <a:ext uri="{FF2B5EF4-FFF2-40B4-BE49-F238E27FC236}">
                <a16:creationId xmlns:a16="http://schemas.microsoft.com/office/drawing/2014/main" id="{2DDF22D0-871E-48D4-84AB-8328D2204C7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916EF546-397D-4F1D-82EA-3E1038CA732B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05</a:t>
            </a:r>
          </a:p>
        </p:txBody>
      </p:sp>
      <p:cxnSp>
        <p:nvCxnSpPr>
          <p:cNvPr id="30" name="Přímá spojnice 29">
            <a:extLst>
              <a:ext uri="{FF2B5EF4-FFF2-40B4-BE49-F238E27FC236}">
                <a16:creationId xmlns:a16="http://schemas.microsoft.com/office/drawing/2014/main" id="{1DBBB984-5DE3-42C8-99C6-0411AD21E481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72C94BCC-22E7-43E6-9CB6-B13D550CA217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E5208144-3C5E-47D7-A884-239079929EE5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3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ACD502F0-4A2E-41C0-A996-F4D039CA5235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48" name="Přímá spojnice 47">
            <a:extLst>
              <a:ext uri="{FF2B5EF4-FFF2-40B4-BE49-F238E27FC236}">
                <a16:creationId xmlns:a16="http://schemas.microsoft.com/office/drawing/2014/main" id="{E0FF1967-F9A7-4DA7-8C39-ADAE4F229A9A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18116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</a:t>
            </a:r>
            <a:r>
              <a:rPr lang="cs-CZ" dirty="0"/>
              <a:t>Liberecký</a:t>
            </a:r>
            <a:r>
              <a:rPr lang="cs-CZ" dirty="0">
                <a:latin typeface="+mj-lt"/>
              </a:rPr>
              <a:t>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F95AB3A1-66AD-4F90-923E-58DA24A2ACA2}"/>
              </a:ext>
            </a:extLst>
          </p:cNvPr>
          <p:cNvGrpSpPr/>
          <p:nvPr/>
        </p:nvGrpSpPr>
        <p:grpSpPr>
          <a:xfrm>
            <a:off x="11213431" y="654465"/>
            <a:ext cx="885789" cy="249232"/>
            <a:chOff x="12375318" y="2890002"/>
            <a:chExt cx="1689602" cy="475399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E3D1087B-18D3-433E-AF83-05324266E08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2926201"/>
              <a:ext cx="364634" cy="43920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F8F3D312-CF77-42CC-B5A2-88110AB3AB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6842" t="32400" r="5593" b="32385"/>
            <a:stretch/>
          </p:blipFill>
          <p:spPr>
            <a:xfrm>
              <a:off x="12882808" y="2890002"/>
              <a:ext cx="1182112" cy="475399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350C6DE2-4202-47BE-AF2A-6983107485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86294553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5" name="TextBox 6">
            <a:extLst>
              <a:ext uri="{FF2B5EF4-FFF2-40B4-BE49-F238E27FC236}">
                <a16:creationId xmlns:a16="http://schemas.microsoft.com/office/drawing/2014/main" id="{606233FC-1831-4181-B01B-C53B961C990E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0" name="TextovéPole 99">
            <a:extLst>
              <a:ext uri="{FF2B5EF4-FFF2-40B4-BE49-F238E27FC236}">
                <a16:creationId xmlns:a16="http://schemas.microsoft.com/office/drawing/2014/main" id="{639EAE62-B99D-4499-878F-78833740001F}"/>
              </a:ext>
            </a:extLst>
          </p:cNvPr>
          <p:cNvSpPr txBox="1"/>
          <p:nvPr/>
        </p:nvSpPr>
        <p:spPr>
          <a:xfrm>
            <a:off x="10317481" y="2339009"/>
            <a:ext cx="1526715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 433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 033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513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354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103" name="Obdélník 102">
            <a:extLst>
              <a:ext uri="{FF2B5EF4-FFF2-40B4-BE49-F238E27FC236}">
                <a16:creationId xmlns:a16="http://schemas.microsoft.com/office/drawing/2014/main" id="{4D38B950-FD79-48DE-BD3D-F5A930934AB4}"/>
              </a:ext>
            </a:extLst>
          </p:cNvPr>
          <p:cNvSpPr/>
          <p:nvPr/>
        </p:nvSpPr>
        <p:spPr>
          <a:xfrm>
            <a:off x="1586939" y="370153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7E3F87A4-162A-426B-B598-79FB4A30A91D}"/>
              </a:ext>
            </a:extLst>
          </p:cNvPr>
          <p:cNvSpPr txBox="1"/>
          <p:nvPr/>
        </p:nvSpPr>
        <p:spPr>
          <a:xfrm>
            <a:off x="1884119" y="3649728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bdélník 28">
            <a:extLst>
              <a:ext uri="{FF2B5EF4-FFF2-40B4-BE49-F238E27FC236}">
                <a16:creationId xmlns:a16="http://schemas.microsoft.com/office/drawing/2014/main" id="{4AB29BEB-70E7-411A-BCD1-EAC9C1B05C80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dnech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5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až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AE46856A-D859-4702-97FC-69967B54DE1D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FBF43671-C84E-40EC-8D8F-EB826C456574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rychlení, R = 1,10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847C0849-B858-4994-A099-12851FF12155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pomalení, R = 0,90</a:t>
            </a:r>
          </a:p>
        </p:txBody>
      </p:sp>
      <p:cxnSp>
        <p:nvCxnSpPr>
          <p:cNvPr id="35" name="Přímá spojnice se šipkou 34">
            <a:extLst>
              <a:ext uri="{FF2B5EF4-FFF2-40B4-BE49-F238E27FC236}">
                <a16:creationId xmlns:a16="http://schemas.microsoft.com/office/drawing/2014/main" id="{F59A2884-0E83-4E33-A8B7-B30FF50AB2BF}"/>
              </a:ext>
            </a:extLst>
          </p:cNvPr>
          <p:cNvCxnSpPr>
            <a:cxnSpLocks/>
            <a:stCxn id="32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" name="Přímá spojnice se šipkou 35">
            <a:extLst>
              <a:ext uri="{FF2B5EF4-FFF2-40B4-BE49-F238E27FC236}">
                <a16:creationId xmlns:a16="http://schemas.microsoft.com/office/drawing/2014/main" id="{E0A68115-84B5-4CE1-8C45-34DE9B419841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1912328D-6840-4C97-A456-71984F0B2942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</p:txBody>
      </p: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B923B4E0-B9D1-4C39-AF42-9508BDC3FDE0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781D8ADE-1E49-4831-B2BA-C5EEB32C9C3E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05</a:t>
            </a:r>
          </a:p>
        </p:txBody>
      </p: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25907629-DF50-417F-AB97-D64A4A6F5A2C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A38011A0-9566-43A0-B087-7E2926C799F4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42" name="TextovéPole 41">
            <a:extLst>
              <a:ext uri="{FF2B5EF4-FFF2-40B4-BE49-F238E27FC236}">
                <a16:creationId xmlns:a16="http://schemas.microsoft.com/office/drawing/2014/main" id="{0C14149D-FE32-41F3-B0FE-111E8FE1EC50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3. 12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2777DF57-F464-4063-8F65-A4D19519BCFC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5</a:t>
            </a:r>
          </a:p>
        </p:txBody>
      </p:sp>
      <p:cxnSp>
        <p:nvCxnSpPr>
          <p:cNvPr id="44" name="Přímá spojnice 43">
            <a:extLst>
              <a:ext uri="{FF2B5EF4-FFF2-40B4-BE49-F238E27FC236}">
                <a16:creationId xmlns:a16="http://schemas.microsoft.com/office/drawing/2014/main" id="{92DB5426-4D2E-4E33-93F5-DC679E451670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0128832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Liber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904EFF0C-23FB-42AD-AEDA-D4E2F71D7EAF}"/>
              </a:ext>
            </a:extLst>
          </p:cNvPr>
          <p:cNvGrpSpPr/>
          <p:nvPr/>
        </p:nvGrpSpPr>
        <p:grpSpPr>
          <a:xfrm>
            <a:off x="11213431" y="654465"/>
            <a:ext cx="885789" cy="249232"/>
            <a:chOff x="12375318" y="2890002"/>
            <a:chExt cx="1689602" cy="475399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72BD359C-46FF-4AE5-B2AC-A55CC70B6C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2926201"/>
              <a:ext cx="364634" cy="439200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E0A22C9F-3AA6-457E-A4B4-E3CA746D88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6842" t="32400" r="5593" b="32385"/>
            <a:stretch/>
          </p:blipFill>
          <p:spPr>
            <a:xfrm>
              <a:off x="12882808" y="2890002"/>
              <a:ext cx="1182112" cy="475399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F0F55FC0-C606-4D15-BF4E-C2FBB0F7F0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4693589"/>
              </p:ext>
            </p:extLst>
          </p:nvPr>
        </p:nvGraphicFramePr>
        <p:xfrm>
          <a:off x="556549" y="1107448"/>
          <a:ext cx="11354940" cy="58564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396DEBCA-8F02-43C3-A911-99A2EDCFB3EE}"/>
              </a:ext>
            </a:extLst>
          </p:cNvPr>
          <p:cNvSpPr txBox="1"/>
          <p:nvPr/>
        </p:nvSpPr>
        <p:spPr>
          <a:xfrm rot="16200000">
            <a:off x="-1254283" y="3668526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23AA691C-1082-4835-B251-C20745982F19}"/>
              </a:ext>
            </a:extLst>
          </p:cNvPr>
          <p:cNvSpPr txBox="1"/>
          <p:nvPr/>
        </p:nvSpPr>
        <p:spPr>
          <a:xfrm>
            <a:off x="11599180" y="5281362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8FBA8AA3-8600-47F6-805F-2BEB6834F1EB}"/>
              </a:ext>
            </a:extLst>
          </p:cNvPr>
          <p:cNvSpPr txBox="1"/>
          <p:nvPr/>
        </p:nvSpPr>
        <p:spPr>
          <a:xfrm>
            <a:off x="11599181" y="5594337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BD6E3C7B-810A-4EFD-B252-31378F662F10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. 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ve dnech 25. 11. až 2. 12.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9BB99046-BC62-4A74-B003-68A0DC45747D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090EE75A-32E7-40A1-AD16-70E45032F967}"/>
              </a:ext>
            </a:extLst>
          </p:cNvPr>
          <p:cNvSpPr txBox="1"/>
          <p:nvPr/>
        </p:nvSpPr>
        <p:spPr>
          <a:xfrm>
            <a:off x="8679409" y="944923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1 873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1 383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725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514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C22CA84E-0B3B-4082-B019-6BB15CD826DA}"/>
              </a:ext>
            </a:extLst>
          </p:cNvPr>
          <p:cNvSpPr txBox="1"/>
          <p:nvPr/>
        </p:nvSpPr>
        <p:spPr>
          <a:xfrm>
            <a:off x="8165327" y="591275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C48813EE-7DAF-4879-A9A3-ED7B4EBFAEF0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35F19CA4-3387-4685-BE26-1C5EC875172B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cxnSp>
        <p:nvCxnSpPr>
          <p:cNvPr id="28" name="Přímá spojnice 27">
            <a:extLst>
              <a:ext uri="{FF2B5EF4-FFF2-40B4-BE49-F238E27FC236}">
                <a16:creationId xmlns:a16="http://schemas.microsoft.com/office/drawing/2014/main" id="{B5B49245-7EB9-4EC5-99F5-F38FA7F98799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5B07E589-424E-45AD-ABD3-EA9536C0D84B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05</a:t>
            </a:r>
          </a:p>
        </p:txBody>
      </p:sp>
      <p:cxnSp>
        <p:nvCxnSpPr>
          <p:cNvPr id="30" name="Přímá spojnice 29">
            <a:extLst>
              <a:ext uri="{FF2B5EF4-FFF2-40B4-BE49-F238E27FC236}">
                <a16:creationId xmlns:a16="http://schemas.microsoft.com/office/drawing/2014/main" id="{3ECE1AB9-B877-48ED-93C5-A59E3450E777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B5B8A7E3-5600-41F8-8563-892DB4C1520D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B355D2FF-E218-465F-A148-AB7FF3A9174A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3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3F223962-528B-4D35-ADDB-E3E6C92155BA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48" name="Přímá spojnice 47">
            <a:extLst>
              <a:ext uri="{FF2B5EF4-FFF2-40B4-BE49-F238E27FC236}">
                <a16:creationId xmlns:a16="http://schemas.microsoft.com/office/drawing/2014/main" id="{F3B243A3-6CD7-45A9-A2C2-4F4F9897139A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86874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308FBC4-9856-48C7-8DF3-A027D07EF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008" y="107933"/>
            <a:ext cx="6702661" cy="1059255"/>
          </a:xfrm>
        </p:spPr>
        <p:txBody>
          <a:bodyPr/>
          <a:lstStyle/>
          <a:p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Projekce krátkodobých modelů SIR </a:t>
            </a:r>
            <a:b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pro vývoj epidemie v prosinci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E5D9B15-9A2B-4DD9-96F4-1AF57AAB9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5126" y="1533113"/>
            <a:ext cx="7742870" cy="442882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1800" b="1" dirty="0"/>
              <a:t>V návaznosti na novou kalibraci modelu 3. 12. byly připraveny nové krátkodobé projekce vývoje*</a:t>
            </a:r>
          </a:p>
          <a:p>
            <a:r>
              <a:rPr lang="cs-CZ" sz="1800" b="1" dirty="0">
                <a:solidFill>
                  <a:srgbClr val="00B050"/>
                </a:solidFill>
              </a:rPr>
              <a:t>Scénář A (scénář </a:t>
            </a:r>
            <a:r>
              <a:rPr lang="en-US" sz="1800" b="1" dirty="0" err="1">
                <a:solidFill>
                  <a:srgbClr val="00B050"/>
                </a:solidFill>
              </a:rPr>
              <a:t>zpomalen</a:t>
            </a:r>
            <a:r>
              <a:rPr lang="cs-CZ" sz="1800" b="1" dirty="0">
                <a:solidFill>
                  <a:srgbClr val="00B050"/>
                </a:solidFill>
              </a:rPr>
              <a:t>í; předpokládané R = 0,90)</a:t>
            </a:r>
          </a:p>
          <a:p>
            <a:pPr lvl="1"/>
            <a:r>
              <a:rPr lang="cs-CZ" sz="1600" dirty="0"/>
              <a:t>zřetelnější zpomalení díky </a:t>
            </a:r>
            <a:r>
              <a:rPr lang="en-US" sz="1600" dirty="0" err="1"/>
              <a:t>testov</a:t>
            </a:r>
            <a:r>
              <a:rPr lang="cs-CZ" sz="1600" dirty="0" err="1"/>
              <a:t>ání</a:t>
            </a:r>
            <a:r>
              <a:rPr lang="cs-CZ" sz="1600" dirty="0"/>
              <a:t>, proočkovanosti, dodržování opatření apod.</a:t>
            </a:r>
          </a:p>
          <a:p>
            <a:r>
              <a:rPr lang="cs-CZ" sz="1800" b="1" dirty="0">
                <a:solidFill>
                  <a:srgbClr val="0070C0"/>
                </a:solidFill>
              </a:rPr>
              <a:t>Scénář B (scénář mírného zpomalení; předpokládané R = 0,95)</a:t>
            </a:r>
          </a:p>
          <a:p>
            <a:pPr lvl="1"/>
            <a:r>
              <a:rPr lang="cs-CZ" sz="1600" dirty="0"/>
              <a:t>zpomalení díky </a:t>
            </a:r>
            <a:r>
              <a:rPr lang="en-US" sz="1600" dirty="0" err="1"/>
              <a:t>testov</a:t>
            </a:r>
            <a:r>
              <a:rPr lang="cs-CZ" sz="1600" dirty="0" err="1"/>
              <a:t>ání</a:t>
            </a:r>
            <a:r>
              <a:rPr lang="cs-CZ" sz="1600" dirty="0"/>
              <a:t>, proočkovanosti, dodržování opatření apod.</a:t>
            </a:r>
          </a:p>
          <a:p>
            <a:r>
              <a:rPr lang="cs-CZ" sz="1800" b="1" dirty="0">
                <a:solidFill>
                  <a:srgbClr val="FFC618"/>
                </a:solidFill>
              </a:rPr>
              <a:t>Scénář C (scénář mírného zrychlení, předpokládané R = 1,05)</a:t>
            </a:r>
          </a:p>
          <a:p>
            <a:pPr lvl="1"/>
            <a:r>
              <a:rPr lang="cs-CZ" sz="1600" dirty="0"/>
              <a:t>pokračující růst, nedostatečná kolektivní imunita, vakcinace významně v čase nepostupuje a projevuje se schopnost viru částečně prolomit vakcinaci</a:t>
            </a:r>
          </a:p>
          <a:p>
            <a:r>
              <a:rPr lang="cs-CZ" sz="1800" b="1" dirty="0">
                <a:solidFill>
                  <a:srgbClr val="FF0000"/>
                </a:solidFill>
              </a:rPr>
              <a:t>Scénář D (scénář zrychlení, předpokládané R = 1,10)</a:t>
            </a:r>
          </a:p>
          <a:p>
            <a:pPr lvl="1"/>
            <a:r>
              <a:rPr lang="cs-CZ" sz="1600" dirty="0"/>
              <a:t>opětovně vyšší počet rizikových kontaktů, nedostatečná kolektivní imunita, vakcinace významně v čase nepostupuje a projevuje se schopnost viru částečně prolomit vakcinaci a v čase klesající efektivita vakcinace, nedostatečná aplikace boosteru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267E8C24-967E-41C5-A2B5-229406E471EE}"/>
              </a:ext>
            </a:extLst>
          </p:cNvPr>
          <p:cNvSpPr txBox="1"/>
          <p:nvPr/>
        </p:nvSpPr>
        <p:spPr>
          <a:xfrm>
            <a:off x="76201" y="5961934"/>
            <a:ext cx="120454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Projekce odpovídají kalibraci reprodukčního čísla epidemiologickým modelem pro krátkodobé predikce ÚZIS ČR v segmentu od 15</a:t>
            </a:r>
            <a:r>
              <a:rPr lang="en-US" sz="1200" dirty="0">
                <a:solidFill>
                  <a:srgbClr val="000000"/>
                </a:solidFill>
                <a:latin typeface="Arial" panose="020B0604020202020204"/>
              </a:rPr>
              <a:t>.</a:t>
            </a:r>
            <a:r>
              <a:rPr lang="cs-CZ" sz="1200" dirty="0">
                <a:solidFill>
                  <a:srgbClr val="000000"/>
                </a:solidFill>
                <a:latin typeface="Arial" panose="020B0604020202020204"/>
              </a:rPr>
              <a:t> 11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do </a:t>
            </a:r>
            <a:r>
              <a:rPr lang="cs-CZ" sz="1200" dirty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lang="cs-CZ" sz="1200" dirty="0">
                <a:solidFill>
                  <a:srgbClr val="000000"/>
                </a:solidFill>
                <a:latin typeface="Arial" panose="020B0604020202020204"/>
              </a:rPr>
              <a:t>12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1, odhad </a:t>
            </a:r>
            <a:r>
              <a:rPr lang="cs-CZ" sz="1200" dirty="0">
                <a:solidFill>
                  <a:srgbClr val="000000"/>
                </a:solidFill>
                <a:latin typeface="Arial" panose="020B0604020202020204"/>
              </a:rPr>
              <a:t>0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8 (</a:t>
            </a:r>
            <a:r>
              <a:rPr lang="cs-CZ" sz="1200" dirty="0">
                <a:solidFill>
                  <a:srgbClr val="000000"/>
                </a:solidFill>
                <a:latin typeface="Arial" panose="020B0604020202020204"/>
              </a:rPr>
              <a:t>0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8–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,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8), interval odpovídá 95% intervalu neurčitosti z odhadů získaných kalibrací modelu, kalibračním cílem byly denní přírůstky s vyjmutím volných dnů a exponenciální váhou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énáře pro různou dynamiku šíření epidemie v následujícím období jsou aplikovány od 25. </a:t>
            </a:r>
            <a:r>
              <a:rPr lang="cs-CZ" sz="1200" dirty="0">
                <a:solidFill>
                  <a:srgbClr val="000000"/>
                </a:solidFill>
                <a:latin typeface="Arial" panose="020B0604020202020204"/>
              </a:rPr>
              <a:t>11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1.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862246AC-1146-4076-847F-695D29DD53B0}"/>
              </a:ext>
            </a:extLst>
          </p:cNvPr>
          <p:cNvSpPr txBox="1"/>
          <p:nvPr/>
        </p:nvSpPr>
        <p:spPr>
          <a:xfrm>
            <a:off x="8096921" y="1717902"/>
            <a:ext cx="3752487" cy="369331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átkodobé projekce vývoje na bázi modelů SIR nenahrazují dlouhodobé populační modely sledování vývoje epidemie. Projekce slouží zejména k doložení pravděpodobného vývoje počtu nových případů při dané dynamice růstu virové zátěže, tedy pro přípravu kapacit v managementu epidemie. Projekce vychází z reálných dat a trendů posledních cca tří týdnů a ukazují možný vývoj při dané hodnotě R a při zachování objemu a struktury prováděných testů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76777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</a:t>
            </a:r>
            <a:r>
              <a:rPr lang="cs-CZ" dirty="0"/>
              <a:t>Královehradecký</a:t>
            </a:r>
            <a:r>
              <a:rPr lang="cs-CZ" dirty="0">
                <a:latin typeface="+mj-lt"/>
              </a:rPr>
              <a:t>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2BFD197E-F2C5-4B7D-B7BD-52FB0F4EF96B}"/>
              </a:ext>
            </a:extLst>
          </p:cNvPr>
          <p:cNvGrpSpPr/>
          <p:nvPr/>
        </p:nvGrpSpPr>
        <p:grpSpPr>
          <a:xfrm>
            <a:off x="11136428" y="657628"/>
            <a:ext cx="969271" cy="298637"/>
            <a:chOff x="12375318" y="0"/>
            <a:chExt cx="1580446" cy="486943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7E01F0A6-C4DC-4FF9-9B0D-9C156F25A0E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75318" y="17690"/>
              <a:ext cx="367200" cy="411266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330152D4-3604-4139-9F59-BD82B1CBCD0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0"/>
              <a:ext cx="1100002" cy="486943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DBDD8FB6-42C3-4F57-BC47-02A0CD2860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58189958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8" name="TextBox 6">
            <a:extLst>
              <a:ext uri="{FF2B5EF4-FFF2-40B4-BE49-F238E27FC236}">
                <a16:creationId xmlns:a16="http://schemas.microsoft.com/office/drawing/2014/main" id="{3BE49261-2B21-48D2-8FAC-FA281B7063DB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TextovéPole 82">
            <a:extLst>
              <a:ext uri="{FF2B5EF4-FFF2-40B4-BE49-F238E27FC236}">
                <a16:creationId xmlns:a16="http://schemas.microsoft.com/office/drawing/2014/main" id="{4959E029-D4E7-4409-B9BB-EA379902BF94}"/>
              </a:ext>
            </a:extLst>
          </p:cNvPr>
          <p:cNvSpPr txBox="1"/>
          <p:nvPr/>
        </p:nvSpPr>
        <p:spPr>
          <a:xfrm>
            <a:off x="10236578" y="2385189"/>
            <a:ext cx="1674911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 850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 333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663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457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86" name="Obdélník 85">
            <a:extLst>
              <a:ext uri="{FF2B5EF4-FFF2-40B4-BE49-F238E27FC236}">
                <a16:creationId xmlns:a16="http://schemas.microsoft.com/office/drawing/2014/main" id="{07658947-6917-49AF-9343-E2EFD8CF46B4}"/>
              </a:ext>
            </a:extLst>
          </p:cNvPr>
          <p:cNvSpPr/>
          <p:nvPr/>
        </p:nvSpPr>
        <p:spPr>
          <a:xfrm>
            <a:off x="1458895" y="364174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D2D70033-2DC8-42A6-B63D-6F503C45B92F}"/>
              </a:ext>
            </a:extLst>
          </p:cNvPr>
          <p:cNvSpPr txBox="1"/>
          <p:nvPr/>
        </p:nvSpPr>
        <p:spPr>
          <a:xfrm>
            <a:off x="1756075" y="3589933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bdélník 28">
            <a:extLst>
              <a:ext uri="{FF2B5EF4-FFF2-40B4-BE49-F238E27FC236}">
                <a16:creationId xmlns:a16="http://schemas.microsoft.com/office/drawing/2014/main" id="{4896C0C8-44DE-4498-8740-33A428510C84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dnech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5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až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BEDD8187-4F48-498A-8282-14028323D527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FCA18422-00CF-487A-8C2E-7E4CA4F327D0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rychlení, R = 1,10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4F67F597-3B9D-41B4-A1BC-0EC6CA9DFF3A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pomalení, R = 0,90</a:t>
            </a:r>
          </a:p>
        </p:txBody>
      </p:sp>
      <p:cxnSp>
        <p:nvCxnSpPr>
          <p:cNvPr id="35" name="Přímá spojnice se šipkou 34">
            <a:extLst>
              <a:ext uri="{FF2B5EF4-FFF2-40B4-BE49-F238E27FC236}">
                <a16:creationId xmlns:a16="http://schemas.microsoft.com/office/drawing/2014/main" id="{7491A98C-41A6-40DF-B784-0974C848A6F7}"/>
              </a:ext>
            </a:extLst>
          </p:cNvPr>
          <p:cNvCxnSpPr>
            <a:cxnSpLocks/>
            <a:stCxn id="32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" name="Přímá spojnice se šipkou 35">
            <a:extLst>
              <a:ext uri="{FF2B5EF4-FFF2-40B4-BE49-F238E27FC236}">
                <a16:creationId xmlns:a16="http://schemas.microsoft.com/office/drawing/2014/main" id="{DCF68AEB-0131-4042-A134-57CC16A775D4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EE3A59E2-6513-4E19-B179-98C85F0CE9C8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</p:txBody>
      </p: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3FF16537-32EE-4BF3-8791-1486EA964702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ABD8B3CF-99C7-426D-994F-C607E454EBCB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05</a:t>
            </a:r>
          </a:p>
        </p:txBody>
      </p: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E8C0DE96-CCE8-4541-92EB-44E67EB2F8F3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CE8F25DD-52E5-482C-8AA3-A66C0C39DB71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42" name="TextovéPole 41">
            <a:extLst>
              <a:ext uri="{FF2B5EF4-FFF2-40B4-BE49-F238E27FC236}">
                <a16:creationId xmlns:a16="http://schemas.microsoft.com/office/drawing/2014/main" id="{DC20DDD0-51CD-4216-AF7F-71608BB10DC9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3. 12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CB64A276-B319-445C-AF3B-356BAE03168E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5</a:t>
            </a:r>
          </a:p>
        </p:txBody>
      </p:sp>
      <p:cxnSp>
        <p:nvCxnSpPr>
          <p:cNvPr id="44" name="Přímá spojnice 43">
            <a:extLst>
              <a:ext uri="{FF2B5EF4-FFF2-40B4-BE49-F238E27FC236}">
                <a16:creationId xmlns:a16="http://schemas.microsoft.com/office/drawing/2014/main" id="{438CFD9D-A170-47E3-BB3E-5BA0C352DA5A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65909378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Královehrad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5226E652-89AF-46A8-B871-CBB7F7FF0671}"/>
              </a:ext>
            </a:extLst>
          </p:cNvPr>
          <p:cNvGrpSpPr/>
          <p:nvPr/>
        </p:nvGrpSpPr>
        <p:grpSpPr>
          <a:xfrm>
            <a:off x="11136428" y="657628"/>
            <a:ext cx="969271" cy="298637"/>
            <a:chOff x="12375318" y="0"/>
            <a:chExt cx="1580446" cy="486943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83466CA5-04E0-48E3-992E-6C7EC4F2CB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75318" y="17690"/>
              <a:ext cx="367200" cy="411266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FD6B49AF-CC89-4B61-8EA0-3044D43B4E5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0"/>
              <a:ext cx="1100002" cy="486943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E11C7E6A-76F6-4635-8C39-3298326136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6654457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EF14F428-5305-4FF8-85C7-79367A4B150C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052A5299-3729-43ED-826C-08F52712B773}"/>
              </a:ext>
            </a:extLst>
          </p:cNvPr>
          <p:cNvSpPr txBox="1"/>
          <p:nvPr/>
        </p:nvSpPr>
        <p:spPr>
          <a:xfrm>
            <a:off x="11581268" y="523018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096E2C6D-D5FF-40AE-853F-7EDB5942F0EC}"/>
              </a:ext>
            </a:extLst>
          </p:cNvPr>
          <p:cNvSpPr txBox="1"/>
          <p:nvPr/>
        </p:nvSpPr>
        <p:spPr>
          <a:xfrm>
            <a:off x="11581268" y="5523689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CA3F5BF2-37F0-4A49-BA51-11FB893EDDB7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. 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ve dnech 25. 11. až 2. 12.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CB3CA071-B442-4C49-96C9-CAC00C313124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771F2B25-3F20-4DBB-A4B3-F079F3C507F3}"/>
              </a:ext>
            </a:extLst>
          </p:cNvPr>
          <p:cNvSpPr txBox="1"/>
          <p:nvPr/>
        </p:nvSpPr>
        <p:spPr>
          <a:xfrm>
            <a:off x="8062860" y="948086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1 94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1 434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75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533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773BE646-9B72-47FC-8B8D-9BA3E7D0F63B}"/>
              </a:ext>
            </a:extLst>
          </p:cNvPr>
          <p:cNvSpPr txBox="1"/>
          <p:nvPr/>
        </p:nvSpPr>
        <p:spPr>
          <a:xfrm>
            <a:off x="7548778" y="594438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FFD63EA9-3368-4008-AB04-4DCD8F5BCDD8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077BFB0A-5013-4B64-BB86-91982734394A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cxnSp>
        <p:nvCxnSpPr>
          <p:cNvPr id="28" name="Přímá spojnice 27">
            <a:extLst>
              <a:ext uri="{FF2B5EF4-FFF2-40B4-BE49-F238E27FC236}">
                <a16:creationId xmlns:a16="http://schemas.microsoft.com/office/drawing/2014/main" id="{D0278EB2-AEE5-4B70-AA34-9204E2B9442E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9C794A28-463C-4DE7-AE00-F1252EAE8D16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05</a:t>
            </a:r>
          </a:p>
        </p:txBody>
      </p:sp>
      <p:cxnSp>
        <p:nvCxnSpPr>
          <p:cNvPr id="30" name="Přímá spojnice 29">
            <a:extLst>
              <a:ext uri="{FF2B5EF4-FFF2-40B4-BE49-F238E27FC236}">
                <a16:creationId xmlns:a16="http://schemas.microsoft.com/office/drawing/2014/main" id="{13B11BBF-FE85-44D7-A30E-0C834C25BC2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FB324855-363B-4C00-AB01-856CC2FBF14F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FFE647BF-9287-4357-9B7A-192B672FFE8C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3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FDEF9699-020E-4A10-96F2-6D8224614187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48" name="Přímá spojnice 47">
            <a:extLst>
              <a:ext uri="{FF2B5EF4-FFF2-40B4-BE49-F238E27FC236}">
                <a16:creationId xmlns:a16="http://schemas.microsoft.com/office/drawing/2014/main" id="{428B5436-84C5-40C0-9E38-F34BA6DDF052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86361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</a:t>
            </a:r>
            <a:r>
              <a:rPr lang="cs-CZ" dirty="0"/>
              <a:t>Pardubický</a:t>
            </a:r>
            <a:r>
              <a:rPr lang="cs-CZ" dirty="0">
                <a:latin typeface="+mj-lt"/>
              </a:rPr>
              <a:t>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DD933C75-0B2E-45EA-B755-81A1E6641817}"/>
              </a:ext>
            </a:extLst>
          </p:cNvPr>
          <p:cNvGrpSpPr/>
          <p:nvPr/>
        </p:nvGrpSpPr>
        <p:grpSpPr>
          <a:xfrm>
            <a:off x="11058210" y="649226"/>
            <a:ext cx="1025315" cy="265174"/>
            <a:chOff x="12375318" y="5014932"/>
            <a:chExt cx="2087955" cy="540000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0EF69E19-EE3C-4047-A2AC-1A0D5D72B59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5047046"/>
              <a:ext cx="373253" cy="46800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36185778-910C-4229-A69C-9D28E2309F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5762" y="5014932"/>
              <a:ext cx="1607511" cy="540000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217BEEF9-B63A-45BA-B16A-80913AB157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757687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5" name="TextBox 6">
            <a:extLst>
              <a:ext uri="{FF2B5EF4-FFF2-40B4-BE49-F238E27FC236}">
                <a16:creationId xmlns:a16="http://schemas.microsoft.com/office/drawing/2014/main" id="{67EA374E-F851-46A0-97CB-241A866DBB7D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BFFB561A-C639-47DE-AE9B-77DA3327994A}"/>
              </a:ext>
            </a:extLst>
          </p:cNvPr>
          <p:cNvSpPr txBox="1"/>
          <p:nvPr/>
        </p:nvSpPr>
        <p:spPr>
          <a:xfrm>
            <a:off x="10356705" y="2446317"/>
            <a:ext cx="1554784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2 264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 631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811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559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48" name="Obdélník 47">
            <a:extLst>
              <a:ext uri="{FF2B5EF4-FFF2-40B4-BE49-F238E27FC236}">
                <a16:creationId xmlns:a16="http://schemas.microsoft.com/office/drawing/2014/main" id="{330235A0-4355-40C4-9558-CA049A4EA7C4}"/>
              </a:ext>
            </a:extLst>
          </p:cNvPr>
          <p:cNvSpPr/>
          <p:nvPr/>
        </p:nvSpPr>
        <p:spPr>
          <a:xfrm>
            <a:off x="1496129" y="3671841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D6F5A2F9-1B1D-4EA2-B599-D7CE5B682F04}"/>
              </a:ext>
            </a:extLst>
          </p:cNvPr>
          <p:cNvSpPr txBox="1"/>
          <p:nvPr/>
        </p:nvSpPr>
        <p:spPr>
          <a:xfrm>
            <a:off x="1793309" y="3620034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Obdélník 46">
            <a:extLst>
              <a:ext uri="{FF2B5EF4-FFF2-40B4-BE49-F238E27FC236}">
                <a16:creationId xmlns:a16="http://schemas.microsoft.com/office/drawing/2014/main" id="{4FBC8D11-787C-478F-B61E-ED4F21F46862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dnech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5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až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TextovéPole 48">
            <a:extLst>
              <a:ext uri="{FF2B5EF4-FFF2-40B4-BE49-F238E27FC236}">
                <a16:creationId xmlns:a16="http://schemas.microsoft.com/office/drawing/2014/main" id="{C2877BB7-18FF-44E9-AA85-CA15D479D5FE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5228AF74-645D-4019-94AA-06E7DC6DD25E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rychlení, R = 1,10</a:t>
            </a: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52ED8010-FB15-4AA7-BD22-FC000E96DE09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pomalení, R = 0,90</a:t>
            </a:r>
          </a:p>
        </p:txBody>
      </p:sp>
      <p:cxnSp>
        <p:nvCxnSpPr>
          <p:cNvPr id="52" name="Přímá spojnice se šipkou 51">
            <a:extLst>
              <a:ext uri="{FF2B5EF4-FFF2-40B4-BE49-F238E27FC236}">
                <a16:creationId xmlns:a16="http://schemas.microsoft.com/office/drawing/2014/main" id="{40A6BDDF-BFC8-47F0-B953-2F71094B9F05}"/>
              </a:ext>
            </a:extLst>
          </p:cNvPr>
          <p:cNvCxnSpPr>
            <a:cxnSpLocks/>
            <a:stCxn id="49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3" name="Přímá spojnice se šipkou 52">
            <a:extLst>
              <a:ext uri="{FF2B5EF4-FFF2-40B4-BE49-F238E27FC236}">
                <a16:creationId xmlns:a16="http://schemas.microsoft.com/office/drawing/2014/main" id="{09C836BE-A9A0-4CE1-870E-B06297E612A7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ADB8CDAF-76BD-4FF3-A3C1-CB4F94404191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</p:txBody>
      </p:sp>
      <p:cxnSp>
        <p:nvCxnSpPr>
          <p:cNvPr id="55" name="Přímá spojnice 54">
            <a:extLst>
              <a:ext uri="{FF2B5EF4-FFF2-40B4-BE49-F238E27FC236}">
                <a16:creationId xmlns:a16="http://schemas.microsoft.com/office/drawing/2014/main" id="{2614304E-8957-4BE0-8C7E-EBCD392C1D04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583852CD-1762-427B-B3A1-D53AFBBD07AC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05</a:t>
            </a:r>
          </a:p>
        </p:txBody>
      </p:sp>
      <p:cxnSp>
        <p:nvCxnSpPr>
          <p:cNvPr id="57" name="Přímá spojnice 56">
            <a:extLst>
              <a:ext uri="{FF2B5EF4-FFF2-40B4-BE49-F238E27FC236}">
                <a16:creationId xmlns:a16="http://schemas.microsoft.com/office/drawing/2014/main" id="{35525F00-F6CC-4EA3-8C59-A32AD29BB473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CDC39625-DFB1-47B2-9979-DB0E8B85D961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7FF4519A-72D8-4F78-BA56-8FA69872E31E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3. 12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65937790-BDC5-4929-9E52-CB4D31784131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5</a:t>
            </a:r>
          </a:p>
        </p:txBody>
      </p: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18D2BDFD-DDDB-4A2E-889A-ADC6F98A50ED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5082906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Pardubic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CF377A2F-C0A0-43DA-9280-A19B6E371AAC}"/>
              </a:ext>
            </a:extLst>
          </p:cNvPr>
          <p:cNvGrpSpPr/>
          <p:nvPr/>
        </p:nvGrpSpPr>
        <p:grpSpPr>
          <a:xfrm>
            <a:off x="11058210" y="649226"/>
            <a:ext cx="1025315" cy="265174"/>
            <a:chOff x="12375318" y="5014932"/>
            <a:chExt cx="2087955" cy="540000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96CE1EA5-E85C-4BA1-A52A-9C4BEA2AE2C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5047046"/>
              <a:ext cx="373253" cy="468000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C92DB6C9-71F1-4520-8565-7AC5680D08F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5762" y="5014932"/>
              <a:ext cx="1607511" cy="540000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12738ECA-1575-4A74-98C0-08768BA57C4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41400389"/>
              </p:ext>
            </p:extLst>
          </p:nvPr>
        </p:nvGraphicFramePr>
        <p:xfrm>
          <a:off x="556549" y="1245252"/>
          <a:ext cx="11354940" cy="57186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C2C37561-D852-438F-BDBC-ECAC3B295F08}"/>
              </a:ext>
            </a:extLst>
          </p:cNvPr>
          <p:cNvSpPr txBox="1"/>
          <p:nvPr/>
        </p:nvSpPr>
        <p:spPr>
          <a:xfrm rot="16200000">
            <a:off x="-1483263" y="3737978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2FED545D-D2B6-4096-A040-75D6513AE399}"/>
              </a:ext>
            </a:extLst>
          </p:cNvPr>
          <p:cNvSpPr txBox="1"/>
          <p:nvPr/>
        </p:nvSpPr>
        <p:spPr>
          <a:xfrm>
            <a:off x="11590672" y="5421206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10AA5AAA-33EA-44C1-9F56-BBE35D5B4D3C}"/>
              </a:ext>
            </a:extLst>
          </p:cNvPr>
          <p:cNvSpPr txBox="1"/>
          <p:nvPr/>
        </p:nvSpPr>
        <p:spPr>
          <a:xfrm>
            <a:off x="11599939" y="569384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AA3A277-8DA5-4AA3-B41B-E2AF8A4A584B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. 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ve dnech 25. 11. až 2. 12.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52ED2A71-1192-41D3-B433-A0945D89FB43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055F06E4-063C-4EFD-BDAB-5539BC5D0B58}"/>
              </a:ext>
            </a:extLst>
          </p:cNvPr>
          <p:cNvSpPr txBox="1"/>
          <p:nvPr/>
        </p:nvSpPr>
        <p:spPr>
          <a:xfrm>
            <a:off x="8572762" y="1018644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2 504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1 849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969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687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B623938E-59A4-43AC-BACC-57E86555C984}"/>
              </a:ext>
            </a:extLst>
          </p:cNvPr>
          <p:cNvSpPr txBox="1"/>
          <p:nvPr/>
        </p:nvSpPr>
        <p:spPr>
          <a:xfrm>
            <a:off x="8058680" y="664996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16E026B1-4B5E-4658-B61E-E5B1290EA607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2584EF84-BD1F-48C8-8F8C-209DECDDEEB6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cxnSp>
        <p:nvCxnSpPr>
          <p:cNvPr id="28" name="Přímá spojnice 27">
            <a:extLst>
              <a:ext uri="{FF2B5EF4-FFF2-40B4-BE49-F238E27FC236}">
                <a16:creationId xmlns:a16="http://schemas.microsoft.com/office/drawing/2014/main" id="{F688FC05-954B-4397-8D61-B0C1BCF16A17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1695FBBC-F893-45B5-B4F4-6735E6E70EA8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05</a:t>
            </a:r>
          </a:p>
        </p:txBody>
      </p:sp>
      <p:cxnSp>
        <p:nvCxnSpPr>
          <p:cNvPr id="30" name="Přímá spojnice 29">
            <a:extLst>
              <a:ext uri="{FF2B5EF4-FFF2-40B4-BE49-F238E27FC236}">
                <a16:creationId xmlns:a16="http://schemas.microsoft.com/office/drawing/2014/main" id="{E94F6613-A6FF-4ABD-844D-E058DAA46137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03E01DD0-7E91-497C-86F1-2E7E1C16C2B4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5AA4D16D-905F-40AD-BBEE-68E309EFD866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3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6D9F3E59-4283-4C00-A3C9-9037E976D334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48" name="Přímá spojnice 47">
            <a:extLst>
              <a:ext uri="{FF2B5EF4-FFF2-40B4-BE49-F238E27FC236}">
                <a16:creationId xmlns:a16="http://schemas.microsoft.com/office/drawing/2014/main" id="{E02EF68D-9EF5-4E94-9D49-E9F6D30D1529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12270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</a:t>
            </a:r>
            <a:r>
              <a:rPr lang="cs-CZ" dirty="0"/>
              <a:t>Kraj Vysočina</a:t>
            </a:r>
            <a:endParaRPr lang="cs-CZ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02642BDA-1FDB-47A2-98F0-CA96CB016C73}"/>
              </a:ext>
            </a:extLst>
          </p:cNvPr>
          <p:cNvGrpSpPr/>
          <p:nvPr/>
        </p:nvGrpSpPr>
        <p:grpSpPr>
          <a:xfrm>
            <a:off x="11015595" y="639500"/>
            <a:ext cx="1123991" cy="276446"/>
            <a:chOff x="12342906" y="6252118"/>
            <a:chExt cx="1866242" cy="459003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661A478B-313E-4DF4-805B-E2DD7B1A71A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42906" y="6252118"/>
              <a:ext cx="402855" cy="459003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9EB01192-C0C6-43BD-A9B4-27A4329DA28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6252118"/>
              <a:ext cx="1353386" cy="433584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57E97467-751F-4A4D-B0BC-D83F0C23E0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19842418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5" name="TextBox 6">
            <a:extLst>
              <a:ext uri="{FF2B5EF4-FFF2-40B4-BE49-F238E27FC236}">
                <a16:creationId xmlns:a16="http://schemas.microsoft.com/office/drawing/2014/main" id="{8F5A649B-696B-4911-8C85-1373DBA74F76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3AFC0F37-AC8A-4578-B12F-C2D44E34659F}"/>
              </a:ext>
            </a:extLst>
          </p:cNvPr>
          <p:cNvSpPr txBox="1"/>
          <p:nvPr/>
        </p:nvSpPr>
        <p:spPr>
          <a:xfrm>
            <a:off x="10397130" y="2385189"/>
            <a:ext cx="1571509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2 085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 502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747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514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65" name="Obdélník 64">
            <a:extLst>
              <a:ext uri="{FF2B5EF4-FFF2-40B4-BE49-F238E27FC236}">
                <a16:creationId xmlns:a16="http://schemas.microsoft.com/office/drawing/2014/main" id="{62017A74-1831-4AE9-B7A3-5B02AC4CFC3F}"/>
              </a:ext>
            </a:extLst>
          </p:cNvPr>
          <p:cNvSpPr/>
          <p:nvPr/>
        </p:nvSpPr>
        <p:spPr>
          <a:xfrm>
            <a:off x="1496129" y="3671841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A8334EF6-9FD1-4146-A1AF-D02D7096561F}"/>
              </a:ext>
            </a:extLst>
          </p:cNvPr>
          <p:cNvSpPr txBox="1"/>
          <p:nvPr/>
        </p:nvSpPr>
        <p:spPr>
          <a:xfrm>
            <a:off x="1793309" y="3620034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bdélník 28">
            <a:extLst>
              <a:ext uri="{FF2B5EF4-FFF2-40B4-BE49-F238E27FC236}">
                <a16:creationId xmlns:a16="http://schemas.microsoft.com/office/drawing/2014/main" id="{5C98E938-9820-4163-891D-1053C90A988D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dnech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5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až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C0388DF6-C91E-4EF1-99E4-59264B426E40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099DEBE0-A949-4D97-9BF7-1E4640511A75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rychlení, R = 1,10</a:t>
            </a: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1E942312-FB99-4525-B640-F431399135C7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pomalení, R = 0,90</a:t>
            </a:r>
          </a:p>
        </p:txBody>
      </p:sp>
      <p:cxnSp>
        <p:nvCxnSpPr>
          <p:cNvPr id="48" name="Přímá spojnice se šipkou 47">
            <a:extLst>
              <a:ext uri="{FF2B5EF4-FFF2-40B4-BE49-F238E27FC236}">
                <a16:creationId xmlns:a16="http://schemas.microsoft.com/office/drawing/2014/main" id="{3FF0152A-3371-4EE3-9B28-9C8FD3832362}"/>
              </a:ext>
            </a:extLst>
          </p:cNvPr>
          <p:cNvCxnSpPr>
            <a:cxnSpLocks/>
            <a:stCxn id="45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9" name="Přímá spojnice se šipkou 48">
            <a:extLst>
              <a:ext uri="{FF2B5EF4-FFF2-40B4-BE49-F238E27FC236}">
                <a16:creationId xmlns:a16="http://schemas.microsoft.com/office/drawing/2014/main" id="{227E4D44-4BF9-42E4-92D4-663CF6BBFC6F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1CAE9867-CE31-44CB-93C7-BE4E8973B79A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</p:txBody>
      </p:sp>
      <p:cxnSp>
        <p:nvCxnSpPr>
          <p:cNvPr id="51" name="Přímá spojnice 50">
            <a:extLst>
              <a:ext uri="{FF2B5EF4-FFF2-40B4-BE49-F238E27FC236}">
                <a16:creationId xmlns:a16="http://schemas.microsoft.com/office/drawing/2014/main" id="{769BD94A-379D-4907-B0D6-C204BA296A50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E227579F-F7F5-4A24-996C-5204BA37312E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05</a:t>
            </a:r>
          </a:p>
        </p:txBody>
      </p:sp>
      <p:cxnSp>
        <p:nvCxnSpPr>
          <p:cNvPr id="56" name="Přímá spojnice 55">
            <a:extLst>
              <a:ext uri="{FF2B5EF4-FFF2-40B4-BE49-F238E27FC236}">
                <a16:creationId xmlns:a16="http://schemas.microsoft.com/office/drawing/2014/main" id="{62A3F21C-F96B-41A5-8934-AACDA4D76792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57" name="Přímá spojnice 56">
            <a:extLst>
              <a:ext uri="{FF2B5EF4-FFF2-40B4-BE49-F238E27FC236}">
                <a16:creationId xmlns:a16="http://schemas.microsoft.com/office/drawing/2014/main" id="{A07FA49E-DB4F-466E-A2CC-776C077B08D8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58" name="TextovéPole 57">
            <a:extLst>
              <a:ext uri="{FF2B5EF4-FFF2-40B4-BE49-F238E27FC236}">
                <a16:creationId xmlns:a16="http://schemas.microsoft.com/office/drawing/2014/main" id="{74968CF9-22AF-431E-9E61-C2E3EDFC0743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3. 12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B7F506AF-9E33-48F4-8D29-D573996265C9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5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2BB0206D-4862-4493-9F9C-A5BD6287EC9C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5922011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Kraj Vysočina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8EC53EB4-047F-4BDD-9F41-C7898B74C223}"/>
              </a:ext>
            </a:extLst>
          </p:cNvPr>
          <p:cNvGrpSpPr/>
          <p:nvPr/>
        </p:nvGrpSpPr>
        <p:grpSpPr>
          <a:xfrm>
            <a:off x="11015595" y="639500"/>
            <a:ext cx="1123991" cy="276446"/>
            <a:chOff x="12342906" y="6252118"/>
            <a:chExt cx="1866242" cy="459003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076E9F58-02CD-47B0-ACBE-3019FA90CF5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42906" y="6252118"/>
              <a:ext cx="402855" cy="459003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6F5A6C2A-6C78-4598-A1BB-FA9E298C7A6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6252118"/>
              <a:ext cx="1353386" cy="433584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105DE481-3169-4194-9086-AF1D559392A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99710670"/>
              </p:ext>
            </p:extLst>
          </p:nvPr>
        </p:nvGraphicFramePr>
        <p:xfrm>
          <a:off x="556549" y="1320754"/>
          <a:ext cx="11354940" cy="5600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CC4E932E-28C4-4B88-A459-14EFF72D3F25}"/>
              </a:ext>
            </a:extLst>
          </p:cNvPr>
          <p:cNvSpPr txBox="1"/>
          <p:nvPr/>
        </p:nvSpPr>
        <p:spPr>
          <a:xfrm rot="16200000">
            <a:off x="-1483263" y="3813479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3383955C-7217-464B-9FEF-96AD29757FC2}"/>
              </a:ext>
            </a:extLst>
          </p:cNvPr>
          <p:cNvSpPr txBox="1"/>
          <p:nvPr/>
        </p:nvSpPr>
        <p:spPr>
          <a:xfrm>
            <a:off x="11587374" y="5304872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532473DE-70DE-4D27-A790-29DB4A0C5A9C}"/>
              </a:ext>
            </a:extLst>
          </p:cNvPr>
          <p:cNvSpPr txBox="1"/>
          <p:nvPr/>
        </p:nvSpPr>
        <p:spPr>
          <a:xfrm>
            <a:off x="11587374" y="5593512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23DEB57F-C27F-423C-9ACF-D302C44EE171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. 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ve dnech 25. 11. až 2. 12.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48947B11-C93D-45EA-8AB4-2B9B3D71F3B0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73FA14ED-48F1-4E46-8B32-8210EABD3D6D}"/>
              </a:ext>
            </a:extLst>
          </p:cNvPr>
          <p:cNvSpPr txBox="1"/>
          <p:nvPr/>
        </p:nvSpPr>
        <p:spPr>
          <a:xfrm>
            <a:off x="8523341" y="993148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2 369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1 749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917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650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8F3D27B4-8030-423B-9866-59A509012135}"/>
              </a:ext>
            </a:extLst>
          </p:cNvPr>
          <p:cNvSpPr txBox="1"/>
          <p:nvPr/>
        </p:nvSpPr>
        <p:spPr>
          <a:xfrm>
            <a:off x="8009259" y="639500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CBD712D4-4A1E-4C90-B969-F4195927E19A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01F5B9F7-63B7-4463-9810-42D17E281865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cxnSp>
        <p:nvCxnSpPr>
          <p:cNvPr id="28" name="Přímá spojnice 27">
            <a:extLst>
              <a:ext uri="{FF2B5EF4-FFF2-40B4-BE49-F238E27FC236}">
                <a16:creationId xmlns:a16="http://schemas.microsoft.com/office/drawing/2014/main" id="{803AD7E3-EBDD-45D3-A898-647E4512FC5F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ABD92738-8B99-434C-8EBE-FC0CFAF19651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05</a:t>
            </a:r>
          </a:p>
        </p:txBody>
      </p:sp>
      <p:cxnSp>
        <p:nvCxnSpPr>
          <p:cNvPr id="30" name="Přímá spojnice 29">
            <a:extLst>
              <a:ext uri="{FF2B5EF4-FFF2-40B4-BE49-F238E27FC236}">
                <a16:creationId xmlns:a16="http://schemas.microsoft.com/office/drawing/2014/main" id="{C0FF5428-C782-426A-9435-70C848276C6B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14C1FB61-8FD5-4BC6-98EA-9267971F274D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1D3194AF-C348-4A7E-B9FB-F751CE6F3046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3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DED76D79-788F-4207-AF53-474176B69181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48" name="Přímá spojnice 47">
            <a:extLst>
              <a:ext uri="{FF2B5EF4-FFF2-40B4-BE49-F238E27FC236}">
                <a16:creationId xmlns:a16="http://schemas.microsoft.com/office/drawing/2014/main" id="{0BD065B2-3B80-4733-8304-BA793BDEF49F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395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Jihomoravský kraj</a:t>
            </a:r>
          </a:p>
        </p:txBody>
      </p:sp>
      <p:pic>
        <p:nvPicPr>
          <p:cNvPr id="27" name="Obrázek 9">
            <a:extLst>
              <a:ext uri="{FF2B5EF4-FFF2-40B4-BE49-F238E27FC236}">
                <a16:creationId xmlns:a16="http://schemas.microsoft.com/office/drawing/2014/main" id="{7CA754DC-A822-422C-92D5-2A3B36E4E5D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576002"/>
            <a:ext cx="1470213" cy="352072"/>
          </a:xfrm>
          <a:prstGeom prst="rect">
            <a:avLst/>
          </a:prstGeom>
        </p:spPr>
      </p:pic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6E9B7F32-66AA-4E74-802C-D5BF6EA379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18114517"/>
              </p:ext>
            </p:extLst>
          </p:nvPr>
        </p:nvGraphicFramePr>
        <p:xfrm>
          <a:off x="556549" y="3433177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" name="TextBox 6">
            <a:extLst>
              <a:ext uri="{FF2B5EF4-FFF2-40B4-BE49-F238E27FC236}">
                <a16:creationId xmlns:a16="http://schemas.microsoft.com/office/drawing/2014/main" id="{19CFDA2A-25FF-4D5E-AD5A-F79231353146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C4439FE2-1153-4321-B2E3-2E1F945D998C}"/>
              </a:ext>
            </a:extLst>
          </p:cNvPr>
          <p:cNvSpPr txBox="1"/>
          <p:nvPr/>
        </p:nvSpPr>
        <p:spPr>
          <a:xfrm>
            <a:off x="10376830" y="2561635"/>
            <a:ext cx="1534659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5 486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3 952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 965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 354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61" name="Obdélník 60">
            <a:extLst>
              <a:ext uri="{FF2B5EF4-FFF2-40B4-BE49-F238E27FC236}">
                <a16:creationId xmlns:a16="http://schemas.microsoft.com/office/drawing/2014/main" id="{D2FD05F0-8D91-4222-AF23-EE44D7636FD2}"/>
              </a:ext>
            </a:extLst>
          </p:cNvPr>
          <p:cNvSpPr/>
          <p:nvPr/>
        </p:nvSpPr>
        <p:spPr>
          <a:xfrm>
            <a:off x="1496129" y="3801131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E12C3542-2749-40D3-875F-2BFC9E7E9B44}"/>
              </a:ext>
            </a:extLst>
          </p:cNvPr>
          <p:cNvSpPr txBox="1"/>
          <p:nvPr/>
        </p:nvSpPr>
        <p:spPr>
          <a:xfrm>
            <a:off x="1793309" y="3749324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13BDC7DA-D38B-41AF-8E2A-9B9F6446C620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dnech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5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až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177A3BD-8351-4A9E-A2FC-BFFAAF12628A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B5CFCE9A-867E-4609-B5D7-361A228E5528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rychlení, R = 1,10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F33ED209-0AA9-4386-A59D-D074E24F2FDE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pomalení, R = 0,90</a:t>
            </a:r>
          </a:p>
        </p:txBody>
      </p:sp>
      <p:cxnSp>
        <p:nvCxnSpPr>
          <p:cNvPr id="44" name="Přímá spojnice se šipkou 43">
            <a:extLst>
              <a:ext uri="{FF2B5EF4-FFF2-40B4-BE49-F238E27FC236}">
                <a16:creationId xmlns:a16="http://schemas.microsoft.com/office/drawing/2014/main" id="{88DBFC09-404F-4021-AAA1-3C1C52B735F2}"/>
              </a:ext>
            </a:extLst>
          </p:cNvPr>
          <p:cNvCxnSpPr>
            <a:cxnSpLocks/>
            <a:stCxn id="28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5" name="Přímá spojnice se šipkou 44">
            <a:extLst>
              <a:ext uri="{FF2B5EF4-FFF2-40B4-BE49-F238E27FC236}">
                <a16:creationId xmlns:a16="http://schemas.microsoft.com/office/drawing/2014/main" id="{DCB6D707-A783-4CD0-AE91-E51D9F3260EC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123A48BC-9795-4685-9AB9-E9F1931BE9EC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</p:txBody>
      </p:sp>
      <p:cxnSp>
        <p:nvCxnSpPr>
          <p:cNvPr id="47" name="Přímá spojnice 46">
            <a:extLst>
              <a:ext uri="{FF2B5EF4-FFF2-40B4-BE49-F238E27FC236}">
                <a16:creationId xmlns:a16="http://schemas.microsoft.com/office/drawing/2014/main" id="{DDA75634-737F-49BC-B7C1-D05F3D880AE1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BCC8578E-84A2-4947-8700-5B0A6D4B5E04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05</a:t>
            </a:r>
          </a:p>
        </p:txBody>
      </p:sp>
      <p:cxnSp>
        <p:nvCxnSpPr>
          <p:cNvPr id="51" name="Přímá spojnice 50">
            <a:extLst>
              <a:ext uri="{FF2B5EF4-FFF2-40B4-BE49-F238E27FC236}">
                <a16:creationId xmlns:a16="http://schemas.microsoft.com/office/drawing/2014/main" id="{8468FD02-C0FF-4D68-8911-B4DE0203D8F4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52" name="Přímá spojnice 51">
            <a:extLst>
              <a:ext uri="{FF2B5EF4-FFF2-40B4-BE49-F238E27FC236}">
                <a16:creationId xmlns:a16="http://schemas.microsoft.com/office/drawing/2014/main" id="{739247A5-E14D-4039-89AD-3E533CE52111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B68E9485-A2D6-47CE-8535-44AC2F5BD367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3. 12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7DF5AB9F-3D9F-4AF9-BB6D-F856CD9C852F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5</a:t>
            </a:r>
          </a:p>
        </p:txBody>
      </p:sp>
      <p:cxnSp>
        <p:nvCxnSpPr>
          <p:cNvPr id="56" name="Přímá spojnice 55">
            <a:extLst>
              <a:ext uri="{FF2B5EF4-FFF2-40B4-BE49-F238E27FC236}">
                <a16:creationId xmlns:a16="http://schemas.microsoft.com/office/drawing/2014/main" id="{32360E11-9E64-4AB8-9D38-480D9F8BEBD6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89024696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Jihomoravský kraj</a:t>
            </a:r>
            <a:endParaRPr lang="cs-CZ" sz="1800" dirty="0">
              <a:latin typeface="+mj-lt"/>
            </a:endParaRPr>
          </a:p>
        </p:txBody>
      </p:sp>
      <p:pic>
        <p:nvPicPr>
          <p:cNvPr id="27" name="Obrázek 9">
            <a:extLst>
              <a:ext uri="{FF2B5EF4-FFF2-40B4-BE49-F238E27FC236}">
                <a16:creationId xmlns:a16="http://schemas.microsoft.com/office/drawing/2014/main" id="{24EC32A6-65D3-4A94-BD8B-77F272E735B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576002"/>
            <a:ext cx="1470213" cy="352072"/>
          </a:xfrm>
          <a:prstGeom prst="rect">
            <a:avLst/>
          </a:prstGeom>
        </p:spPr>
      </p:pic>
      <p:graphicFrame>
        <p:nvGraphicFramePr>
          <p:cNvPr id="22" name="Chart 4">
            <a:extLst>
              <a:ext uri="{FF2B5EF4-FFF2-40B4-BE49-F238E27FC236}">
                <a16:creationId xmlns:a16="http://schemas.microsoft.com/office/drawing/2014/main" id="{28361F55-F8A1-49FB-A18A-7C1B538BBC7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07555109"/>
              </p:ext>
            </p:extLst>
          </p:nvPr>
        </p:nvGraphicFramePr>
        <p:xfrm>
          <a:off x="556549" y="1329143"/>
          <a:ext cx="11354940" cy="55288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2" name="TextBox 6">
            <a:extLst>
              <a:ext uri="{FF2B5EF4-FFF2-40B4-BE49-F238E27FC236}">
                <a16:creationId xmlns:a16="http://schemas.microsoft.com/office/drawing/2014/main" id="{FBAB8508-4B4A-4086-A6CC-235293A47FBA}"/>
              </a:ext>
            </a:extLst>
          </p:cNvPr>
          <p:cNvSpPr txBox="1"/>
          <p:nvPr/>
        </p:nvSpPr>
        <p:spPr>
          <a:xfrm rot="16200000">
            <a:off x="-1483263" y="3821868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30374619-248F-4A41-973E-D6EE172F9C0A}"/>
              </a:ext>
            </a:extLst>
          </p:cNvPr>
          <p:cNvSpPr txBox="1"/>
          <p:nvPr/>
        </p:nvSpPr>
        <p:spPr>
          <a:xfrm>
            <a:off x="11595023" y="5384979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57" name="TextovéPole 56">
            <a:extLst>
              <a:ext uri="{FF2B5EF4-FFF2-40B4-BE49-F238E27FC236}">
                <a16:creationId xmlns:a16="http://schemas.microsoft.com/office/drawing/2014/main" id="{0D77A5D0-30DB-4CB3-892C-0A4BB92677BC}"/>
              </a:ext>
            </a:extLst>
          </p:cNvPr>
          <p:cNvSpPr txBox="1"/>
          <p:nvPr/>
        </p:nvSpPr>
        <p:spPr>
          <a:xfrm>
            <a:off x="11595024" y="570927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3862B181-69F9-4571-BBBD-AFC4ABC23E7B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. 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ve dnech 25. 11. až 2. 12.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Obdélník 36">
            <a:extLst>
              <a:ext uri="{FF2B5EF4-FFF2-40B4-BE49-F238E27FC236}">
                <a16:creationId xmlns:a16="http://schemas.microsoft.com/office/drawing/2014/main" id="{761D683E-C66A-4D96-BEF4-CCFF20910550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6BF3817D-AB67-4D46-802F-2E2A88CEF71A}"/>
              </a:ext>
            </a:extLst>
          </p:cNvPr>
          <p:cNvSpPr txBox="1"/>
          <p:nvPr/>
        </p:nvSpPr>
        <p:spPr>
          <a:xfrm>
            <a:off x="8294794" y="105686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2 654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1 960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0070C0"/>
                </a:solidFill>
                <a:latin typeface="Calibri" panose="020F0502020204030204" pitchFamily="34" charset="0"/>
              </a:rPr>
              <a:t>1 028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728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3602980E-A189-4BE6-8F42-4760AEE6E756}"/>
              </a:ext>
            </a:extLst>
          </p:cNvPr>
          <p:cNvSpPr txBox="1"/>
          <p:nvPr/>
        </p:nvSpPr>
        <p:spPr>
          <a:xfrm>
            <a:off x="7780712" y="703214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2B36389A-E351-4C0E-8B54-289D41738F25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4B5FC325-86BB-45C4-BA94-7BED11C76060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A477335A-E7BF-4C7B-8B69-6CB9043A18E6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1B7E072B-E8BA-41AA-94EF-D2BCA0059949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05</a:t>
            </a:r>
          </a:p>
        </p:txBody>
      </p:sp>
      <p:cxnSp>
        <p:nvCxnSpPr>
          <p:cNvPr id="28" name="Přímá spojnice 27">
            <a:extLst>
              <a:ext uri="{FF2B5EF4-FFF2-40B4-BE49-F238E27FC236}">
                <a16:creationId xmlns:a16="http://schemas.microsoft.com/office/drawing/2014/main" id="{AD99F5E4-B7CC-4B5E-B16B-5DA09AB59ACF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Přímá spojnice 28">
            <a:extLst>
              <a:ext uri="{FF2B5EF4-FFF2-40B4-BE49-F238E27FC236}">
                <a16:creationId xmlns:a16="http://schemas.microsoft.com/office/drawing/2014/main" id="{F68EA621-C7D5-4DC7-BC1B-D8DEFF164390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FAF96D16-94C9-4D4F-B0DC-CE748EB569E8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3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3D89C5EF-662D-4342-928E-1E762753D65C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33" name="Přímá spojnice 32">
            <a:extLst>
              <a:ext uri="{FF2B5EF4-FFF2-40B4-BE49-F238E27FC236}">
                <a16:creationId xmlns:a16="http://schemas.microsoft.com/office/drawing/2014/main" id="{04D8AE25-9B95-4C7F-8904-E6F83921E3F4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7137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Olomouc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B637B5CA-7ABB-4CAC-8917-2464D7474930}"/>
              </a:ext>
            </a:extLst>
          </p:cNvPr>
          <p:cNvGrpSpPr/>
          <p:nvPr/>
        </p:nvGrpSpPr>
        <p:grpSpPr>
          <a:xfrm>
            <a:off x="11077811" y="576002"/>
            <a:ext cx="1063351" cy="297378"/>
            <a:chOff x="12381439" y="4241938"/>
            <a:chExt cx="2118964" cy="592592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B67231B6-229F-40B5-B88A-FFD124DE20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81439" y="4338569"/>
              <a:ext cx="352232" cy="43733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72AC0F59-F4CD-4492-ADFE-D4AAAD6B6C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7614" b="9791"/>
            <a:stretch/>
          </p:blipFill>
          <p:spPr>
            <a:xfrm>
              <a:off x="12855762" y="4241938"/>
              <a:ext cx="1644641" cy="592592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8CCBB09F-B8CB-457E-873F-1EA18F8F1E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4809076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5" name="TextBox 6">
            <a:extLst>
              <a:ext uri="{FF2B5EF4-FFF2-40B4-BE49-F238E27FC236}">
                <a16:creationId xmlns:a16="http://schemas.microsoft.com/office/drawing/2014/main" id="{4797BC73-EE14-4CEE-8798-64BFF2ED15F4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8C14FCD1-5B50-46D6-A509-9F35491CAA09}"/>
              </a:ext>
            </a:extLst>
          </p:cNvPr>
          <p:cNvSpPr txBox="1"/>
          <p:nvPr/>
        </p:nvSpPr>
        <p:spPr>
          <a:xfrm>
            <a:off x="10432614" y="2388644"/>
            <a:ext cx="1567854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3 094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 229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 108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763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65" name="Obdélník 64">
            <a:extLst>
              <a:ext uri="{FF2B5EF4-FFF2-40B4-BE49-F238E27FC236}">
                <a16:creationId xmlns:a16="http://schemas.microsoft.com/office/drawing/2014/main" id="{8F25539E-01C9-4F26-90F3-9EB82E5752EE}"/>
              </a:ext>
            </a:extLst>
          </p:cNvPr>
          <p:cNvSpPr/>
          <p:nvPr/>
        </p:nvSpPr>
        <p:spPr>
          <a:xfrm>
            <a:off x="1496129" y="3671841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DD96FC31-2DFF-418F-AF3A-1BB13C6383C5}"/>
              </a:ext>
            </a:extLst>
          </p:cNvPr>
          <p:cNvSpPr txBox="1"/>
          <p:nvPr/>
        </p:nvSpPr>
        <p:spPr>
          <a:xfrm>
            <a:off x="1793309" y="3620034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bdélník 28">
            <a:extLst>
              <a:ext uri="{FF2B5EF4-FFF2-40B4-BE49-F238E27FC236}">
                <a16:creationId xmlns:a16="http://schemas.microsoft.com/office/drawing/2014/main" id="{BA0A6BB3-4233-45D4-99E8-3487F2961BCD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dnech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5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až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51847549-3431-481D-BACD-75F51D873C01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3ED6F83F-821E-4C96-A64A-49E8A1E3FD2F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rychlení, R = 1,10</a:t>
            </a: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E899CDA3-47BD-4003-9343-618A4D307610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pomalení, R = 0,90</a:t>
            </a:r>
          </a:p>
        </p:txBody>
      </p:sp>
      <p:cxnSp>
        <p:nvCxnSpPr>
          <p:cNvPr id="48" name="Přímá spojnice se šipkou 47">
            <a:extLst>
              <a:ext uri="{FF2B5EF4-FFF2-40B4-BE49-F238E27FC236}">
                <a16:creationId xmlns:a16="http://schemas.microsoft.com/office/drawing/2014/main" id="{AD44E7BC-1F2C-4E48-BAF2-6543C7BEE4D3}"/>
              </a:ext>
            </a:extLst>
          </p:cNvPr>
          <p:cNvCxnSpPr>
            <a:cxnSpLocks/>
            <a:stCxn id="45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9" name="Přímá spojnice se šipkou 48">
            <a:extLst>
              <a:ext uri="{FF2B5EF4-FFF2-40B4-BE49-F238E27FC236}">
                <a16:creationId xmlns:a16="http://schemas.microsoft.com/office/drawing/2014/main" id="{5AFFFD0C-7639-4CB4-AAA4-D7CC6ACD3EE4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8D9E59C4-8729-473D-824C-839839B8F090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</p:txBody>
      </p:sp>
      <p:cxnSp>
        <p:nvCxnSpPr>
          <p:cNvPr id="51" name="Přímá spojnice 50">
            <a:extLst>
              <a:ext uri="{FF2B5EF4-FFF2-40B4-BE49-F238E27FC236}">
                <a16:creationId xmlns:a16="http://schemas.microsoft.com/office/drawing/2014/main" id="{6A23751A-F325-4557-A69F-019830B9D74E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A36547E2-4748-455E-969B-0A8B2D361396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05</a:t>
            </a:r>
          </a:p>
        </p:txBody>
      </p:sp>
      <p:cxnSp>
        <p:nvCxnSpPr>
          <p:cNvPr id="56" name="Přímá spojnice 55">
            <a:extLst>
              <a:ext uri="{FF2B5EF4-FFF2-40B4-BE49-F238E27FC236}">
                <a16:creationId xmlns:a16="http://schemas.microsoft.com/office/drawing/2014/main" id="{E5C4B5C7-8DB3-464E-A406-1FEDCCF918F0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57" name="Přímá spojnice 56">
            <a:extLst>
              <a:ext uri="{FF2B5EF4-FFF2-40B4-BE49-F238E27FC236}">
                <a16:creationId xmlns:a16="http://schemas.microsoft.com/office/drawing/2014/main" id="{339B4797-E99A-42C4-801D-19A867ED43E0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58" name="TextovéPole 57">
            <a:extLst>
              <a:ext uri="{FF2B5EF4-FFF2-40B4-BE49-F238E27FC236}">
                <a16:creationId xmlns:a16="http://schemas.microsoft.com/office/drawing/2014/main" id="{E11392E1-C94C-4B0D-89E5-B137C6D4AA30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3. 12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EB2AC617-4E0F-4A9E-AC55-7EF5E8308620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5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1E34066F-5587-475C-9498-9DBB86D31239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57970106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Olomouc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8EAAEC9C-9787-42E1-8FA6-6339E87A1247}"/>
              </a:ext>
            </a:extLst>
          </p:cNvPr>
          <p:cNvGrpSpPr/>
          <p:nvPr/>
        </p:nvGrpSpPr>
        <p:grpSpPr>
          <a:xfrm>
            <a:off x="11077811" y="576002"/>
            <a:ext cx="1063351" cy="297378"/>
            <a:chOff x="12381439" y="4241938"/>
            <a:chExt cx="2118964" cy="592592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3091EF52-9329-4CE6-B7B2-34AAEE6283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81439" y="4338569"/>
              <a:ext cx="352232" cy="437330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D6B9575F-24DE-4CAD-B5A2-0750DA68E1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7614" b="9791"/>
            <a:stretch/>
          </p:blipFill>
          <p:spPr>
            <a:xfrm>
              <a:off x="12855762" y="4241938"/>
              <a:ext cx="1644641" cy="592592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6B8EBB15-CC75-4B3F-8CC8-B51E906658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2177516"/>
              </p:ext>
            </p:extLst>
          </p:nvPr>
        </p:nvGraphicFramePr>
        <p:xfrm>
          <a:off x="556549" y="1161363"/>
          <a:ext cx="11354940" cy="5696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9B321D5A-49D2-455B-BEE8-969A4E2FBE3B}"/>
              </a:ext>
            </a:extLst>
          </p:cNvPr>
          <p:cNvSpPr txBox="1"/>
          <p:nvPr/>
        </p:nvSpPr>
        <p:spPr>
          <a:xfrm rot="16200000">
            <a:off x="-1483263" y="3654088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FF69147F-910E-4428-AD52-9D2F2CEF0DBD}"/>
              </a:ext>
            </a:extLst>
          </p:cNvPr>
          <p:cNvSpPr txBox="1"/>
          <p:nvPr/>
        </p:nvSpPr>
        <p:spPr>
          <a:xfrm>
            <a:off x="11600404" y="5325303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AAA79C2D-7BC3-4C0C-82C1-AABCBC59E385}"/>
              </a:ext>
            </a:extLst>
          </p:cNvPr>
          <p:cNvSpPr txBox="1"/>
          <p:nvPr/>
        </p:nvSpPr>
        <p:spPr>
          <a:xfrm>
            <a:off x="11620312" y="5640183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FB8F60B-F915-4855-A1C2-13E6BA64177E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. 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ve dnech 25. 11. až 2. 12.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BE8E7D09-330C-4E51-91BF-8B7733EE3477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15888A9D-0FF5-4AB9-AFEB-F81972A5AC0F}"/>
              </a:ext>
            </a:extLst>
          </p:cNvPr>
          <p:cNvSpPr txBox="1"/>
          <p:nvPr/>
        </p:nvSpPr>
        <p:spPr>
          <a:xfrm>
            <a:off x="8557413" y="1057751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2 837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2 095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0070C0"/>
                </a:solidFill>
                <a:latin typeface="Calibri" panose="020F0502020204030204" pitchFamily="34" charset="0"/>
              </a:rPr>
              <a:t>1 098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779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B33FBDA0-39FB-4151-B862-8A5B08FD0F0C}"/>
              </a:ext>
            </a:extLst>
          </p:cNvPr>
          <p:cNvSpPr txBox="1"/>
          <p:nvPr/>
        </p:nvSpPr>
        <p:spPr>
          <a:xfrm>
            <a:off x="8043331" y="704103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854F432-44C5-475D-94D5-C4C22236035E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52D32C85-C478-4474-85B2-8AA5B883FD55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cxnSp>
        <p:nvCxnSpPr>
          <p:cNvPr id="28" name="Přímá spojnice 27">
            <a:extLst>
              <a:ext uri="{FF2B5EF4-FFF2-40B4-BE49-F238E27FC236}">
                <a16:creationId xmlns:a16="http://schemas.microsoft.com/office/drawing/2014/main" id="{3020982C-3549-49A5-96FD-BB6733140286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16A3E6AA-A8AC-4755-9148-485AD89C28EE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05</a:t>
            </a:r>
          </a:p>
        </p:txBody>
      </p:sp>
      <p:cxnSp>
        <p:nvCxnSpPr>
          <p:cNvPr id="30" name="Přímá spojnice 29">
            <a:extLst>
              <a:ext uri="{FF2B5EF4-FFF2-40B4-BE49-F238E27FC236}">
                <a16:creationId xmlns:a16="http://schemas.microsoft.com/office/drawing/2014/main" id="{C139B6DE-3797-4A6F-8C58-7C4FC0BA9D78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1C86B54D-4F68-422B-8E63-327011FC15C5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3C7FB20F-6F86-4AF3-8992-0222EF4755B3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3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9E215C61-D92D-4D0C-9581-52996DED19F8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48" name="Přímá spojnice 47">
            <a:extLst>
              <a:ext uri="{FF2B5EF4-FFF2-40B4-BE49-F238E27FC236}">
                <a16:creationId xmlns:a16="http://schemas.microsoft.com/office/drawing/2014/main" id="{986D96B7-9F1B-4F1D-9B72-7AE3F66F67FA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33614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Chart 4">
            <a:extLst>
              <a:ext uri="{FF2B5EF4-FFF2-40B4-BE49-F238E27FC236}">
                <a16:creationId xmlns:a16="http://schemas.microsoft.com/office/drawing/2014/main" id="{49B07879-1D7D-432F-964E-F4D01F6C03A2}"/>
              </a:ext>
            </a:extLst>
          </p:cNvPr>
          <p:cNvGraphicFramePr/>
          <p:nvPr/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927" y="2"/>
            <a:ext cx="11650316" cy="576000"/>
          </a:xfrm>
        </p:spPr>
        <p:txBody>
          <a:bodyPr/>
          <a:lstStyle/>
          <a:p>
            <a:r>
              <a:rPr lang="cs-CZ" sz="2400" dirty="0"/>
              <a:t>Krátkodobá projekce modelů SIR dle hodnoty efektivního reprodukčního čísla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86260" y="1114072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645828" y="605565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rychlení, R = 1,10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645828" y="2253834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, R = 0,90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3953410" y="848123"/>
            <a:ext cx="578118" cy="6814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>
            <a:cxnSpLocks/>
          </p:cNvCxnSpPr>
          <p:nvPr/>
        </p:nvCxnSpPr>
        <p:spPr>
          <a:xfrm>
            <a:off x="3990644" y="1708000"/>
            <a:ext cx="540884" cy="6873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 rot="16200000">
            <a:off x="-1107773" y="4633294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5567743" y="1061910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1622845" y="486091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1920025" y="4809105"/>
            <a:ext cx="2070619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5273490" y="1216945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5567743" y="1269374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05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5273490" y="1440252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5273490" y="1854426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5567743" y="1695703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3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A5C97B4C-ED25-4E57-BB83-FAED72C8D978}"/>
              </a:ext>
            </a:extLst>
          </p:cNvPr>
          <p:cNvSpPr txBox="1"/>
          <p:nvPr/>
        </p:nvSpPr>
        <p:spPr>
          <a:xfrm>
            <a:off x="5568235" y="1489227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4C853E7-AA17-488D-8B4F-4A4F18501DC6}"/>
              </a:ext>
            </a:extLst>
          </p:cNvPr>
          <p:cNvCxnSpPr>
            <a:cxnSpLocks/>
          </p:cNvCxnSpPr>
          <p:nvPr/>
        </p:nvCxnSpPr>
        <p:spPr>
          <a:xfrm>
            <a:off x="5273490" y="1640436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CF058705-E099-4F5E-B598-06B4E55917DD}"/>
              </a:ext>
            </a:extLst>
          </p:cNvPr>
          <p:cNvSpPr txBox="1"/>
          <p:nvPr/>
        </p:nvSpPr>
        <p:spPr>
          <a:xfrm>
            <a:off x="9813592" y="1015956"/>
            <a:ext cx="1584476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1. 202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1 09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predikovaných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9 610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predikovaných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4 724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predikovaných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 142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predikovaných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57C8870D-0DBF-47D5-A3E6-DD61FC19E3DA}"/>
              </a:ext>
            </a:extLst>
          </p:cNvPr>
          <p:cNvSpPr txBox="1"/>
          <p:nvPr/>
        </p:nvSpPr>
        <p:spPr>
          <a:xfrm>
            <a:off x="2039772" y="2752265"/>
            <a:ext cx="81124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átkodobé projekce potvrzují, že i při R = 0,9 by byl pokles virové nálože v populaci relativně pomalý a vysoká zátěž by v populaci přetrvávala až do konce roku 2021.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943667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Zlín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EE210122-DB31-48AA-8AC8-EFFE3245B4F9}"/>
              </a:ext>
            </a:extLst>
          </p:cNvPr>
          <p:cNvGrpSpPr/>
          <p:nvPr/>
        </p:nvGrpSpPr>
        <p:grpSpPr>
          <a:xfrm>
            <a:off x="10732168" y="598017"/>
            <a:ext cx="1459832" cy="336698"/>
            <a:chOff x="12350220" y="6820895"/>
            <a:chExt cx="2317881" cy="534600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2C333EC3-C379-4CD6-9480-FAECD12AA1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50220" y="6820895"/>
              <a:ext cx="534600" cy="53460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68E2DB84-5B2F-489B-85AC-0F5E2D56F8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836" b="5966"/>
            <a:stretch/>
          </p:blipFill>
          <p:spPr>
            <a:xfrm>
              <a:off x="12927151" y="6867935"/>
              <a:ext cx="1740950" cy="433585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EAF49646-B7A3-4163-9CF0-F50DA809B5D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1749584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8" name="TextBox 6">
            <a:extLst>
              <a:ext uri="{FF2B5EF4-FFF2-40B4-BE49-F238E27FC236}">
                <a16:creationId xmlns:a16="http://schemas.microsoft.com/office/drawing/2014/main" id="{7830B1C4-339C-4648-A3FF-D1D2362811CB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TextovéPole 82">
            <a:extLst>
              <a:ext uri="{FF2B5EF4-FFF2-40B4-BE49-F238E27FC236}">
                <a16:creationId xmlns:a16="http://schemas.microsoft.com/office/drawing/2014/main" id="{C50FA80E-394F-46BD-BC3F-CC886588B0D2}"/>
              </a:ext>
            </a:extLst>
          </p:cNvPr>
          <p:cNvSpPr txBox="1"/>
          <p:nvPr/>
        </p:nvSpPr>
        <p:spPr>
          <a:xfrm>
            <a:off x="10264868" y="2281586"/>
            <a:ext cx="1570169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2 955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 129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 059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729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86" name="Obdélník 85">
            <a:extLst>
              <a:ext uri="{FF2B5EF4-FFF2-40B4-BE49-F238E27FC236}">
                <a16:creationId xmlns:a16="http://schemas.microsoft.com/office/drawing/2014/main" id="{A04BBC39-ABFE-4505-B238-9E03111EEB34}"/>
              </a:ext>
            </a:extLst>
          </p:cNvPr>
          <p:cNvSpPr/>
          <p:nvPr/>
        </p:nvSpPr>
        <p:spPr>
          <a:xfrm>
            <a:off x="1458895" y="3671841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0C909C02-8D14-4199-847F-5B8B278605BD}"/>
              </a:ext>
            </a:extLst>
          </p:cNvPr>
          <p:cNvSpPr txBox="1"/>
          <p:nvPr/>
        </p:nvSpPr>
        <p:spPr>
          <a:xfrm>
            <a:off x="1756075" y="3620034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bdélník 28">
            <a:extLst>
              <a:ext uri="{FF2B5EF4-FFF2-40B4-BE49-F238E27FC236}">
                <a16:creationId xmlns:a16="http://schemas.microsoft.com/office/drawing/2014/main" id="{D6B0EC61-E3CF-4AB1-9693-E333D6A22CE4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dnech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5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až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D435468D-450B-4C54-8543-4E77A47B951D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C9199CD-1455-4C2B-BA45-EE86AB5416CE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rychlení, R = 1,10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673275C8-BEE9-46FA-B688-E0C4DF4F6928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pomalení, R = 0,90</a:t>
            </a:r>
          </a:p>
        </p:txBody>
      </p:sp>
      <p:cxnSp>
        <p:nvCxnSpPr>
          <p:cNvPr id="35" name="Přímá spojnice se šipkou 34">
            <a:extLst>
              <a:ext uri="{FF2B5EF4-FFF2-40B4-BE49-F238E27FC236}">
                <a16:creationId xmlns:a16="http://schemas.microsoft.com/office/drawing/2014/main" id="{D2AC915B-B3F5-4884-B857-1AD5B6D0D82C}"/>
              </a:ext>
            </a:extLst>
          </p:cNvPr>
          <p:cNvCxnSpPr>
            <a:cxnSpLocks/>
            <a:stCxn id="32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" name="Přímá spojnice se šipkou 35">
            <a:extLst>
              <a:ext uri="{FF2B5EF4-FFF2-40B4-BE49-F238E27FC236}">
                <a16:creationId xmlns:a16="http://schemas.microsoft.com/office/drawing/2014/main" id="{C53379CB-9E03-4650-93EB-60DC998F61C7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95EC6F9A-444E-4646-B695-191D2BA4019E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</p:txBody>
      </p: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A791755C-5832-4371-A4F9-8784ECFB64BC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4BFFA19D-FDD1-4B9E-8052-006465351EA3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05</a:t>
            </a:r>
          </a:p>
        </p:txBody>
      </p: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6813FEE3-4584-4207-8427-2F3206D620BA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D1ACF260-C3F5-4D4F-A1A6-1807840B3A40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42" name="TextovéPole 41">
            <a:extLst>
              <a:ext uri="{FF2B5EF4-FFF2-40B4-BE49-F238E27FC236}">
                <a16:creationId xmlns:a16="http://schemas.microsoft.com/office/drawing/2014/main" id="{0069A1CB-735D-4B09-8060-ED1F140D9E91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3. 12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B2F4E9FF-D81F-4DFD-913C-A908F449418B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5</a:t>
            </a:r>
          </a:p>
        </p:txBody>
      </p:sp>
      <p:cxnSp>
        <p:nvCxnSpPr>
          <p:cNvPr id="44" name="Přímá spojnice 43">
            <a:extLst>
              <a:ext uri="{FF2B5EF4-FFF2-40B4-BE49-F238E27FC236}">
                <a16:creationId xmlns:a16="http://schemas.microsoft.com/office/drawing/2014/main" id="{4F934D74-F42D-4586-86B6-0559B9FFEE30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3096909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Zlín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ABBEF440-9B73-4678-85E1-C7EA118090D8}"/>
              </a:ext>
            </a:extLst>
          </p:cNvPr>
          <p:cNvGrpSpPr/>
          <p:nvPr/>
        </p:nvGrpSpPr>
        <p:grpSpPr>
          <a:xfrm>
            <a:off x="10732168" y="598017"/>
            <a:ext cx="1459832" cy="336698"/>
            <a:chOff x="12350220" y="6820895"/>
            <a:chExt cx="2317881" cy="534600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FEC49A19-88DC-4B7C-9826-5AF41E51014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50220" y="6820895"/>
              <a:ext cx="534600" cy="534600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6E485FB9-C538-4482-A44B-56C3E56E70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836" b="5966"/>
            <a:stretch/>
          </p:blipFill>
          <p:spPr>
            <a:xfrm>
              <a:off x="12927151" y="6867935"/>
              <a:ext cx="1740950" cy="433585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091E9871-321F-4599-8D36-5B7F507F45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5980480"/>
              </p:ext>
            </p:extLst>
          </p:nvPr>
        </p:nvGraphicFramePr>
        <p:xfrm>
          <a:off x="556549" y="1379477"/>
          <a:ext cx="11354940" cy="54785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DB2CB1B4-5425-4408-BE99-BF8E18F3FC13}"/>
              </a:ext>
            </a:extLst>
          </p:cNvPr>
          <p:cNvSpPr txBox="1"/>
          <p:nvPr/>
        </p:nvSpPr>
        <p:spPr>
          <a:xfrm rot="16200000">
            <a:off x="-1317136" y="3866092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CBEA7757-5875-4A54-80B2-A563C4A610A4}"/>
              </a:ext>
            </a:extLst>
          </p:cNvPr>
          <p:cNvSpPr txBox="1"/>
          <p:nvPr/>
        </p:nvSpPr>
        <p:spPr>
          <a:xfrm>
            <a:off x="11614458" y="5311489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2DA1F8C7-012F-49D0-888B-361A41EF5969}"/>
              </a:ext>
            </a:extLst>
          </p:cNvPr>
          <p:cNvSpPr txBox="1"/>
          <p:nvPr/>
        </p:nvSpPr>
        <p:spPr>
          <a:xfrm>
            <a:off x="11614457" y="568584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C39F0D7-4997-4CA9-8D1E-54B0FCC949A1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. 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ve dnech 25. 11. až 2. 12.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029BDD85-2226-4BE2-9F68-D374FCE71E2A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EE2B0634-0D34-4F3B-A83A-EF525B933AAE}"/>
              </a:ext>
            </a:extLst>
          </p:cNvPr>
          <p:cNvSpPr txBox="1"/>
          <p:nvPr/>
        </p:nvSpPr>
        <p:spPr>
          <a:xfrm>
            <a:off x="8472123" y="1197539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2 945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2 175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0070C0"/>
                </a:solidFill>
                <a:latin typeface="Calibri" panose="020F0502020204030204" pitchFamily="34" charset="0"/>
              </a:rPr>
              <a:t>1 140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808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1A31B6E5-55BC-49E2-9ADC-3A9851E797A4}"/>
              </a:ext>
            </a:extLst>
          </p:cNvPr>
          <p:cNvSpPr txBox="1"/>
          <p:nvPr/>
        </p:nvSpPr>
        <p:spPr>
          <a:xfrm>
            <a:off x="7958041" y="843891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2A802599-EE2B-4080-9B0F-838A90E354D4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7863551B-8C7B-4BFF-915C-130C2DBFFBB9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cxnSp>
        <p:nvCxnSpPr>
          <p:cNvPr id="28" name="Přímá spojnice 27">
            <a:extLst>
              <a:ext uri="{FF2B5EF4-FFF2-40B4-BE49-F238E27FC236}">
                <a16:creationId xmlns:a16="http://schemas.microsoft.com/office/drawing/2014/main" id="{06E174E9-9E93-4774-9144-3876906CF05E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5827AD66-544D-445D-A6E2-CB5370145FE0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05</a:t>
            </a:r>
          </a:p>
        </p:txBody>
      </p:sp>
      <p:cxnSp>
        <p:nvCxnSpPr>
          <p:cNvPr id="30" name="Přímá spojnice 29">
            <a:extLst>
              <a:ext uri="{FF2B5EF4-FFF2-40B4-BE49-F238E27FC236}">
                <a16:creationId xmlns:a16="http://schemas.microsoft.com/office/drawing/2014/main" id="{2CEBACE5-D011-4A13-A91A-6FF81DC4AC68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CBEC5967-B122-4D61-A384-64CDCBFF3B9A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6B7CB2C7-58C8-406D-A0CE-D13248832B16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3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02FDDCC8-9C4C-408A-89D5-24BA49B067C5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48" name="Přímá spojnice 47">
            <a:extLst>
              <a:ext uri="{FF2B5EF4-FFF2-40B4-BE49-F238E27FC236}">
                <a16:creationId xmlns:a16="http://schemas.microsoft.com/office/drawing/2014/main" id="{0AE984F1-C3DC-4EF6-984E-AA37C856EB83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064452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Moravskoslezský kraj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67A8D6D5-2BE1-4709-A9F9-AAD5E93A3096}"/>
              </a:ext>
            </a:extLst>
          </p:cNvPr>
          <p:cNvGrpSpPr/>
          <p:nvPr/>
        </p:nvGrpSpPr>
        <p:grpSpPr>
          <a:xfrm>
            <a:off x="10847672" y="616687"/>
            <a:ext cx="1260195" cy="293736"/>
            <a:chOff x="12375318" y="3580090"/>
            <a:chExt cx="2065512" cy="481446"/>
          </a:xfrm>
        </p:grpSpPr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BE316EE1-BD8B-434D-B8A6-4115110174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3607454"/>
              <a:ext cx="369831" cy="454082"/>
            </a:xfrm>
            <a:prstGeom prst="rect">
              <a:avLst/>
            </a:prstGeom>
          </p:spPr>
        </p:pic>
        <p:pic>
          <p:nvPicPr>
            <p:cNvPr id="32" name="Picture 2" descr="logo MoravskoslezskÃ½ kraj">
              <a:extLst>
                <a:ext uri="{FF2B5EF4-FFF2-40B4-BE49-F238E27FC236}">
                  <a16:creationId xmlns:a16="http://schemas.microsoft.com/office/drawing/2014/main" id="{6820DBB1-4D8C-45BE-990C-77BAF3B771C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55762" y="3580090"/>
              <a:ext cx="1585068" cy="481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D198C4D8-80C4-4908-94E3-3C203BB3516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2212550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5" name="TextBox 6">
            <a:extLst>
              <a:ext uri="{FF2B5EF4-FFF2-40B4-BE49-F238E27FC236}">
                <a16:creationId xmlns:a16="http://schemas.microsoft.com/office/drawing/2014/main" id="{96653E44-F26A-47FB-B14F-B726E055ADF1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6DCD1733-D151-490A-B93A-503B88A30A08}"/>
              </a:ext>
            </a:extLst>
          </p:cNvPr>
          <p:cNvSpPr txBox="1"/>
          <p:nvPr/>
        </p:nvSpPr>
        <p:spPr>
          <a:xfrm>
            <a:off x="10166528" y="2305438"/>
            <a:ext cx="1587925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5 074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3 656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 818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 252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65" name="Obdélník 64">
            <a:extLst>
              <a:ext uri="{FF2B5EF4-FFF2-40B4-BE49-F238E27FC236}">
                <a16:creationId xmlns:a16="http://schemas.microsoft.com/office/drawing/2014/main" id="{F15C8A33-5C3A-430A-9572-4A9C7DCF4761}"/>
              </a:ext>
            </a:extLst>
          </p:cNvPr>
          <p:cNvSpPr/>
          <p:nvPr/>
        </p:nvSpPr>
        <p:spPr>
          <a:xfrm>
            <a:off x="1496129" y="364174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5239EED6-609A-4779-9755-F17A89F878E6}"/>
              </a:ext>
            </a:extLst>
          </p:cNvPr>
          <p:cNvSpPr txBox="1"/>
          <p:nvPr/>
        </p:nvSpPr>
        <p:spPr>
          <a:xfrm>
            <a:off x="1793309" y="3589933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bdélník 28">
            <a:extLst>
              <a:ext uri="{FF2B5EF4-FFF2-40B4-BE49-F238E27FC236}">
                <a16:creationId xmlns:a16="http://schemas.microsoft.com/office/drawing/2014/main" id="{FA05CA83-A3D7-409C-A209-C95C347FE118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dnech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5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až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BCA50B53-B3AA-4810-8A00-3281B132695F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FAA447C2-B404-4D68-AB77-52FCB876F6A2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rychlení, R = 1,10</a:t>
            </a: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F191FA78-C75C-4B50-919C-69A98D06D750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pomalení, R = 0,90</a:t>
            </a:r>
          </a:p>
        </p:txBody>
      </p:sp>
      <p:cxnSp>
        <p:nvCxnSpPr>
          <p:cNvPr id="47" name="Přímá spojnice se šipkou 46">
            <a:extLst>
              <a:ext uri="{FF2B5EF4-FFF2-40B4-BE49-F238E27FC236}">
                <a16:creationId xmlns:a16="http://schemas.microsoft.com/office/drawing/2014/main" id="{584D54E7-F0F1-4FDC-BF0C-DE82FCCD7E77}"/>
              </a:ext>
            </a:extLst>
          </p:cNvPr>
          <p:cNvCxnSpPr>
            <a:cxnSpLocks/>
            <a:stCxn id="33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8" name="Přímá spojnice se šipkou 47">
            <a:extLst>
              <a:ext uri="{FF2B5EF4-FFF2-40B4-BE49-F238E27FC236}">
                <a16:creationId xmlns:a16="http://schemas.microsoft.com/office/drawing/2014/main" id="{C0A648EE-8A51-442F-954C-A76974BB155F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9" name="TextovéPole 48">
            <a:extLst>
              <a:ext uri="{FF2B5EF4-FFF2-40B4-BE49-F238E27FC236}">
                <a16:creationId xmlns:a16="http://schemas.microsoft.com/office/drawing/2014/main" id="{DCCB886F-017A-4478-9D6A-77BCB1F074B9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</p:txBody>
      </p: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8C5DC734-BCF8-4F07-9CD6-9BEB173F918F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A2ECF398-A296-4501-ACA6-7707815B7BE0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05</a:t>
            </a:r>
          </a:p>
        </p:txBody>
      </p:sp>
      <p:cxnSp>
        <p:nvCxnSpPr>
          <p:cNvPr id="55" name="Přímá spojnice 54">
            <a:extLst>
              <a:ext uri="{FF2B5EF4-FFF2-40B4-BE49-F238E27FC236}">
                <a16:creationId xmlns:a16="http://schemas.microsoft.com/office/drawing/2014/main" id="{F78AE1B6-EA57-4DB1-A5C5-BBE34ED8D16F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56" name="Přímá spojnice 55">
            <a:extLst>
              <a:ext uri="{FF2B5EF4-FFF2-40B4-BE49-F238E27FC236}">
                <a16:creationId xmlns:a16="http://schemas.microsoft.com/office/drawing/2014/main" id="{C02EAE58-8557-4150-B8C9-63A68CC76BDB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58" name="TextovéPole 57">
            <a:extLst>
              <a:ext uri="{FF2B5EF4-FFF2-40B4-BE49-F238E27FC236}">
                <a16:creationId xmlns:a16="http://schemas.microsoft.com/office/drawing/2014/main" id="{9F51C842-3534-42EF-962E-D589C1FF01BC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3. 12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A377B775-32FE-41E3-B8AB-FC9737119FCA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5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19199511-A4CC-470D-91E2-7D44D117E48D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39467777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Moravskoslez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93B28575-B676-4AB3-A35F-2AF5E956246F}"/>
              </a:ext>
            </a:extLst>
          </p:cNvPr>
          <p:cNvGrpSpPr/>
          <p:nvPr/>
        </p:nvGrpSpPr>
        <p:grpSpPr>
          <a:xfrm>
            <a:off x="10847672" y="616687"/>
            <a:ext cx="1260195" cy="293736"/>
            <a:chOff x="12375318" y="3580090"/>
            <a:chExt cx="2065512" cy="481446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B7DCF597-4193-4B75-86AF-8804BFB3876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3607454"/>
              <a:ext cx="369831" cy="454082"/>
            </a:xfrm>
            <a:prstGeom prst="rect">
              <a:avLst/>
            </a:prstGeom>
          </p:spPr>
        </p:pic>
        <p:pic>
          <p:nvPicPr>
            <p:cNvPr id="34" name="Picture 2" descr="logo MoravskoslezskÃ½ kraj">
              <a:extLst>
                <a:ext uri="{FF2B5EF4-FFF2-40B4-BE49-F238E27FC236}">
                  <a16:creationId xmlns:a16="http://schemas.microsoft.com/office/drawing/2014/main" id="{A6DD4F8C-022B-4E6A-A279-442EC18AA4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55762" y="3580090"/>
              <a:ext cx="1585068" cy="481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C9E63093-5C55-4DC2-AB2F-BA3E20289B5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9645119"/>
              </p:ext>
            </p:extLst>
          </p:nvPr>
        </p:nvGraphicFramePr>
        <p:xfrm>
          <a:off x="556549" y="1345921"/>
          <a:ext cx="11354940" cy="5575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F6ACBF8E-7576-490C-A9BF-C03DB1049512}"/>
              </a:ext>
            </a:extLst>
          </p:cNvPr>
          <p:cNvSpPr txBox="1"/>
          <p:nvPr/>
        </p:nvSpPr>
        <p:spPr>
          <a:xfrm rot="16200000">
            <a:off x="-1483263" y="3838646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60EECC08-D359-4E45-94BA-DD52F3A693F1}"/>
              </a:ext>
            </a:extLst>
          </p:cNvPr>
          <p:cNvSpPr txBox="1"/>
          <p:nvPr/>
        </p:nvSpPr>
        <p:spPr>
          <a:xfrm>
            <a:off x="11581780" y="5382151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C6646942-7567-46AD-8B53-AEE676889AAC}"/>
              </a:ext>
            </a:extLst>
          </p:cNvPr>
          <p:cNvSpPr txBox="1"/>
          <p:nvPr/>
        </p:nvSpPr>
        <p:spPr>
          <a:xfrm>
            <a:off x="11581780" y="5704742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E2019607-6E54-42E2-A349-E70B3DF58A85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. 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ve dnech 25. 11. až 2. 12.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874AA8EE-6294-461F-BAB4-C49BA270DD35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A2EF2526-DBDF-4C58-8359-E8B8EDD56246}"/>
              </a:ext>
            </a:extLst>
          </p:cNvPr>
          <p:cNvSpPr txBox="1"/>
          <p:nvPr/>
        </p:nvSpPr>
        <p:spPr>
          <a:xfrm>
            <a:off x="8443763" y="1237913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2 460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1 816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95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675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5A56129B-F79C-48ED-9D75-7CF8A4FD58B3}"/>
              </a:ext>
            </a:extLst>
          </p:cNvPr>
          <p:cNvSpPr txBox="1"/>
          <p:nvPr/>
        </p:nvSpPr>
        <p:spPr>
          <a:xfrm>
            <a:off x="7929681" y="884265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8D1D3312-93DA-41D0-A7A6-C78DF8E212DB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8F83C2FE-BD34-415A-841A-F76E340685D6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cxnSp>
        <p:nvCxnSpPr>
          <p:cNvPr id="28" name="Přímá spojnice 27">
            <a:extLst>
              <a:ext uri="{FF2B5EF4-FFF2-40B4-BE49-F238E27FC236}">
                <a16:creationId xmlns:a16="http://schemas.microsoft.com/office/drawing/2014/main" id="{307C4773-5792-4ACA-B753-5E7D4F4FB528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D28FD763-434E-421C-8E8A-3EA94FA4F34A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05</a:t>
            </a:r>
          </a:p>
        </p:txBody>
      </p:sp>
      <p:cxnSp>
        <p:nvCxnSpPr>
          <p:cNvPr id="30" name="Přímá spojnice 29">
            <a:extLst>
              <a:ext uri="{FF2B5EF4-FFF2-40B4-BE49-F238E27FC236}">
                <a16:creationId xmlns:a16="http://schemas.microsoft.com/office/drawing/2014/main" id="{547C02F2-A51C-4B43-8EC3-437B23EB9962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419A8262-CDC1-4F03-A247-5D758BC5A4F3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50183755-D936-4942-AFD3-81C4089D79B3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3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7E0CF710-7B79-40D6-9163-66358970F075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37" name="Přímá spojnice 36">
            <a:extLst>
              <a:ext uri="{FF2B5EF4-FFF2-40B4-BE49-F238E27FC236}">
                <a16:creationId xmlns:a16="http://schemas.microsoft.com/office/drawing/2014/main" id="{6272290C-860C-4D4A-BAB9-DF528DCF384E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18161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Chart 4">
            <a:extLst>
              <a:ext uri="{FF2B5EF4-FFF2-40B4-BE49-F238E27FC236}">
                <a16:creationId xmlns:a16="http://schemas.microsoft.com/office/drawing/2014/main" id="{1C607227-CBFF-4193-B50F-EDC6549C29C0}"/>
              </a:ext>
            </a:extLst>
          </p:cNvPr>
          <p:cNvGraphicFramePr/>
          <p:nvPr/>
        </p:nvGraphicFramePr>
        <p:xfrm>
          <a:off x="556549" y="1494124"/>
          <a:ext cx="11354940" cy="53292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59" y="-18593"/>
            <a:ext cx="11354940" cy="576000"/>
          </a:xfrm>
        </p:spPr>
        <p:txBody>
          <a:bodyPr/>
          <a:lstStyle/>
          <a:p>
            <a:r>
              <a:rPr lang="cs-CZ" sz="2400" dirty="0"/>
              <a:t>7denní hodnoty na 100 tisíc obyvatel: krátkodobá projekce vývoje 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1455917" y="222086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1735659" y="2179107"/>
            <a:ext cx="36195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372766" y="3208280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1D997ECA-8A36-4B34-B5A8-38AA2E8AA115}"/>
              </a:ext>
            </a:extLst>
          </p:cNvPr>
          <p:cNvSpPr txBox="1"/>
          <p:nvPr/>
        </p:nvSpPr>
        <p:spPr>
          <a:xfrm>
            <a:off x="11581780" y="522182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95545FA7-595F-4A29-94DD-6DCFA00D86C0}"/>
              </a:ext>
            </a:extLst>
          </p:cNvPr>
          <p:cNvSpPr txBox="1"/>
          <p:nvPr/>
        </p:nvSpPr>
        <p:spPr>
          <a:xfrm>
            <a:off x="11597277" y="548775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BE993916-2EEC-4D23-A11A-577A1D408336}"/>
              </a:ext>
            </a:extLst>
          </p:cNvPr>
          <p:cNvSpPr txBox="1"/>
          <p:nvPr/>
        </p:nvSpPr>
        <p:spPr>
          <a:xfrm>
            <a:off x="8048740" y="815233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1. 202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221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640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60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09 na 100 tisíc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19232A53-DCEA-43C0-AB08-8B92BC0FF4F5}"/>
              </a:ext>
            </a:extLst>
          </p:cNvPr>
          <p:cNvSpPr txBox="1"/>
          <p:nvPr/>
        </p:nvSpPr>
        <p:spPr>
          <a:xfrm>
            <a:off x="6119356" y="774853"/>
            <a:ext cx="2221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6167808C-DD4A-421B-9D5A-5608932F9D83}"/>
              </a:ext>
            </a:extLst>
          </p:cNvPr>
          <p:cNvSpPr txBox="1"/>
          <p:nvPr/>
        </p:nvSpPr>
        <p:spPr>
          <a:xfrm>
            <a:off x="228000" y="6363777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8</a:t>
            </a: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% pr</a:t>
            </a:r>
            <a:r>
              <a:rPr kumimoji="0" lang="cs-CZ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měrné</a:t>
            </a: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odnoty v pracovních dnech).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D90FC8C-A0A3-4025-9DAC-A2967E0370DD}"/>
              </a:ext>
            </a:extLst>
          </p:cNvPr>
          <p:cNvSpPr txBox="1"/>
          <p:nvPr/>
        </p:nvSpPr>
        <p:spPr>
          <a:xfrm>
            <a:off x="1735659" y="983319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cxnSp>
        <p:nvCxnSpPr>
          <p:cNvPr id="28" name="Přímá spojnice 27">
            <a:extLst>
              <a:ext uri="{FF2B5EF4-FFF2-40B4-BE49-F238E27FC236}">
                <a16:creationId xmlns:a16="http://schemas.microsoft.com/office/drawing/2014/main" id="{E33C7563-1DCE-4A3B-8AE8-FBF1171A4F53}"/>
              </a:ext>
            </a:extLst>
          </p:cNvPr>
          <p:cNvCxnSpPr>
            <a:cxnSpLocks/>
          </p:cNvCxnSpPr>
          <p:nvPr/>
        </p:nvCxnSpPr>
        <p:spPr>
          <a:xfrm>
            <a:off x="1441406" y="1138354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CC9EE453-45DC-42CD-A61F-730C1791F211}"/>
              </a:ext>
            </a:extLst>
          </p:cNvPr>
          <p:cNvSpPr txBox="1"/>
          <p:nvPr/>
        </p:nvSpPr>
        <p:spPr>
          <a:xfrm>
            <a:off x="1735659" y="119078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05</a:t>
            </a:r>
          </a:p>
        </p:txBody>
      </p:sp>
      <p:cxnSp>
        <p:nvCxnSpPr>
          <p:cNvPr id="37" name="Přímá spojnice 36">
            <a:extLst>
              <a:ext uri="{FF2B5EF4-FFF2-40B4-BE49-F238E27FC236}">
                <a16:creationId xmlns:a16="http://schemas.microsoft.com/office/drawing/2014/main" id="{0E9CF0EC-FB65-47A3-A571-2F101A3DACA9}"/>
              </a:ext>
            </a:extLst>
          </p:cNvPr>
          <p:cNvCxnSpPr>
            <a:cxnSpLocks/>
          </p:cNvCxnSpPr>
          <p:nvPr/>
        </p:nvCxnSpPr>
        <p:spPr>
          <a:xfrm>
            <a:off x="1441406" y="1361661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F5BD2EAE-B357-4FE4-BC41-939A8B50C3B7}"/>
              </a:ext>
            </a:extLst>
          </p:cNvPr>
          <p:cNvCxnSpPr>
            <a:cxnSpLocks/>
          </p:cNvCxnSpPr>
          <p:nvPr/>
        </p:nvCxnSpPr>
        <p:spPr>
          <a:xfrm>
            <a:off x="1441406" y="177583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A4EDB006-DE3B-40AE-916D-67248B04788B}"/>
              </a:ext>
            </a:extLst>
          </p:cNvPr>
          <p:cNvSpPr txBox="1"/>
          <p:nvPr/>
        </p:nvSpPr>
        <p:spPr>
          <a:xfrm>
            <a:off x="1735659" y="1617112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3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11359E92-50FF-4D3F-9AA6-DBCC9F298EAA}"/>
              </a:ext>
            </a:extLst>
          </p:cNvPr>
          <p:cNvSpPr txBox="1"/>
          <p:nvPr/>
        </p:nvSpPr>
        <p:spPr>
          <a:xfrm>
            <a:off x="1736151" y="1410636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B36694A9-7DDA-41A0-8C74-1D09992F8DE3}"/>
              </a:ext>
            </a:extLst>
          </p:cNvPr>
          <p:cNvCxnSpPr>
            <a:cxnSpLocks/>
          </p:cNvCxnSpPr>
          <p:nvPr/>
        </p:nvCxnSpPr>
        <p:spPr>
          <a:xfrm>
            <a:off x="1441406" y="1561845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3F97D918-E74A-454F-A3C4-6D2F81B4C8F9}"/>
              </a:ext>
            </a:extLst>
          </p:cNvPr>
          <p:cNvSpPr txBox="1"/>
          <p:nvPr/>
        </p:nvSpPr>
        <p:spPr>
          <a:xfrm>
            <a:off x="1402396" y="2613463"/>
            <a:ext cx="46929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átkodobé projekce potvrzují, že i při R = 0,9 by byl pokles virové nálože v populaci relativně pomalý a vysoká zátěž by v populaci přetrvávala až do konce roku 2021.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70354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Stav a vývoj epidemie COVID-19 </a:t>
            </a:r>
            <a:br>
              <a:rPr lang="cs-CZ" dirty="0"/>
            </a:br>
            <a:r>
              <a:rPr lang="cs-CZ" dirty="0"/>
              <a:t>v dostupných datech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04925" y="3693109"/>
            <a:ext cx="9867900" cy="2250491"/>
          </a:xfrm>
        </p:spPr>
        <p:txBody>
          <a:bodyPr>
            <a:normAutofit/>
          </a:bodyPr>
          <a:lstStyle/>
          <a:p>
            <a:r>
              <a:rPr lang="cs-CZ" sz="4800" b="1" dirty="0"/>
              <a:t>Krátkodobé populační predikce pro jednotlivé regiony</a:t>
            </a:r>
            <a:endParaRPr lang="en-US" sz="4800" b="1" dirty="0"/>
          </a:p>
        </p:txBody>
      </p:sp>
    </p:spTree>
    <p:extLst>
      <p:ext uri="{BB962C8B-B14F-4D97-AF65-F5344CB8AC3E}">
        <p14:creationId xmlns:p14="http://schemas.microsoft.com/office/powerpoint/2010/main" val="29506288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Praha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3A3D10F2-5603-4536-8013-E5443E88E93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6542" y="634041"/>
            <a:ext cx="369332" cy="369332"/>
          </a:xfrm>
          <a:prstGeom prst="rect">
            <a:avLst/>
          </a:prstGeom>
        </p:spPr>
      </p:pic>
      <p:graphicFrame>
        <p:nvGraphicFramePr>
          <p:cNvPr id="29" name="Chart 4">
            <a:extLst>
              <a:ext uri="{FF2B5EF4-FFF2-40B4-BE49-F238E27FC236}">
                <a16:creationId xmlns:a16="http://schemas.microsoft.com/office/drawing/2014/main" id="{B6523D7D-8564-427A-B9A2-2C7A2E997A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9587481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3" name="TextBox 6">
            <a:extLst>
              <a:ext uri="{FF2B5EF4-FFF2-40B4-BE49-F238E27FC236}">
                <a16:creationId xmlns:a16="http://schemas.microsoft.com/office/drawing/2014/main" id="{77642D23-AB8A-428B-B5A9-B6DE7D5CA8AC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494FEE07-9E48-43F3-ACED-58235DD7DD8B}"/>
              </a:ext>
            </a:extLst>
          </p:cNvPr>
          <p:cNvSpPr txBox="1"/>
          <p:nvPr/>
        </p:nvSpPr>
        <p:spPr>
          <a:xfrm>
            <a:off x="1875241" y="3724100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E83DEFAE-C712-4ECA-9E6F-3A56F8769B65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dnech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5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až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E15E1487-A75D-4BAC-860E-28CE11CAF8D1}"/>
              </a:ext>
            </a:extLst>
          </p:cNvPr>
          <p:cNvSpPr/>
          <p:nvPr/>
        </p:nvSpPr>
        <p:spPr>
          <a:xfrm>
            <a:off x="1578061" y="3775907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TextovéPole 81">
            <a:extLst>
              <a:ext uri="{FF2B5EF4-FFF2-40B4-BE49-F238E27FC236}">
                <a16:creationId xmlns:a16="http://schemas.microsoft.com/office/drawing/2014/main" id="{77EFB76E-7CC6-4F40-9894-A26E535DA51E}"/>
              </a:ext>
            </a:extLst>
          </p:cNvPr>
          <p:cNvSpPr txBox="1"/>
          <p:nvPr/>
        </p:nvSpPr>
        <p:spPr>
          <a:xfrm>
            <a:off x="10169740" y="2462133"/>
            <a:ext cx="1596802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4 533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3 266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 624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 119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58935E2F-7FB0-41C3-8EEC-ED75E75D0C18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F2B2C76E-15CD-4DE4-A732-54EF00D71806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rychlení, R = 1,10</a:t>
            </a:r>
          </a:p>
        </p:txBody>
      </p:sp>
      <p:sp>
        <p:nvSpPr>
          <p:cNvPr id="42" name="TextovéPole 41">
            <a:extLst>
              <a:ext uri="{FF2B5EF4-FFF2-40B4-BE49-F238E27FC236}">
                <a16:creationId xmlns:a16="http://schemas.microsoft.com/office/drawing/2014/main" id="{215086E4-5116-4D96-B6EC-E10367E26912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pomalení, R = 0,90</a:t>
            </a:r>
          </a:p>
        </p:txBody>
      </p:sp>
      <p:cxnSp>
        <p:nvCxnSpPr>
          <p:cNvPr id="43" name="Přímá spojnice se šipkou 42">
            <a:extLst>
              <a:ext uri="{FF2B5EF4-FFF2-40B4-BE49-F238E27FC236}">
                <a16:creationId xmlns:a16="http://schemas.microsoft.com/office/drawing/2014/main" id="{C96A80CD-30D2-4188-AC27-EE378DDF1021}"/>
              </a:ext>
            </a:extLst>
          </p:cNvPr>
          <p:cNvCxnSpPr>
            <a:cxnSpLocks/>
            <a:stCxn id="40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4" name="Přímá spojnice se šipkou 43">
            <a:extLst>
              <a:ext uri="{FF2B5EF4-FFF2-40B4-BE49-F238E27FC236}">
                <a16:creationId xmlns:a16="http://schemas.microsoft.com/office/drawing/2014/main" id="{1A1E807D-C358-488C-A72D-9A2B79370D19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EE831A4A-21DA-4E79-BBA7-0CE0CCBB4088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</p:txBody>
      </p:sp>
      <p:cxnSp>
        <p:nvCxnSpPr>
          <p:cNvPr id="46" name="Přímá spojnice 45">
            <a:extLst>
              <a:ext uri="{FF2B5EF4-FFF2-40B4-BE49-F238E27FC236}">
                <a16:creationId xmlns:a16="http://schemas.microsoft.com/office/drawing/2014/main" id="{84BD18FC-FCBB-4BB1-8F27-4C1A540496DD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F3E91228-6133-4186-8B87-A5811B560460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05</a:t>
            </a:r>
          </a:p>
        </p:txBody>
      </p:sp>
      <p:cxnSp>
        <p:nvCxnSpPr>
          <p:cNvPr id="48" name="Přímá spojnice 47">
            <a:extLst>
              <a:ext uri="{FF2B5EF4-FFF2-40B4-BE49-F238E27FC236}">
                <a16:creationId xmlns:a16="http://schemas.microsoft.com/office/drawing/2014/main" id="{3F6051A4-9856-4690-ABC4-47081B638F21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49" name="Přímá spojnice 48">
            <a:extLst>
              <a:ext uri="{FF2B5EF4-FFF2-40B4-BE49-F238E27FC236}">
                <a16:creationId xmlns:a16="http://schemas.microsoft.com/office/drawing/2014/main" id="{EB44AB2B-3FF7-4D2C-AA54-1C76BA99F86C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E5BCD23A-61C2-4806-B111-885BCFE6C336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3. 12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27958705-3286-48A5-A839-17A0BABAFE3F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5</a:t>
            </a:r>
          </a:p>
        </p:txBody>
      </p:sp>
      <p:cxnSp>
        <p:nvCxnSpPr>
          <p:cNvPr id="52" name="Přímá spojnice 51">
            <a:extLst>
              <a:ext uri="{FF2B5EF4-FFF2-40B4-BE49-F238E27FC236}">
                <a16:creationId xmlns:a16="http://schemas.microsoft.com/office/drawing/2014/main" id="{79C9456D-6AE6-4A63-8179-EAE669512F7B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5156789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Praha</a:t>
            </a:r>
          </a:p>
        </p:txBody>
      </p:sp>
      <p:pic>
        <p:nvPicPr>
          <p:cNvPr id="33" name="Obrázek 32">
            <a:extLst>
              <a:ext uri="{FF2B5EF4-FFF2-40B4-BE49-F238E27FC236}">
                <a16:creationId xmlns:a16="http://schemas.microsoft.com/office/drawing/2014/main" id="{9B8E0D10-17C4-4853-8301-52892F01D2DB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6542" y="634041"/>
            <a:ext cx="369332" cy="369332"/>
          </a:xfrm>
          <a:prstGeom prst="rect">
            <a:avLst/>
          </a:prstGeom>
        </p:spPr>
      </p:pic>
      <p:graphicFrame>
        <p:nvGraphicFramePr>
          <p:cNvPr id="21" name="Chart 4">
            <a:extLst>
              <a:ext uri="{FF2B5EF4-FFF2-40B4-BE49-F238E27FC236}">
                <a16:creationId xmlns:a16="http://schemas.microsoft.com/office/drawing/2014/main" id="{BB551E58-93BA-4BAA-AEB2-FEB996BBC5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23746268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TextovéPole 23">
            <a:extLst>
              <a:ext uri="{FF2B5EF4-FFF2-40B4-BE49-F238E27FC236}">
                <a16:creationId xmlns:a16="http://schemas.microsoft.com/office/drawing/2014/main" id="{154B69E7-C0F3-4F83-BEEB-7F5FB9C41705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TextBox 6">
            <a:extLst>
              <a:ext uri="{FF2B5EF4-FFF2-40B4-BE49-F238E27FC236}">
                <a16:creationId xmlns:a16="http://schemas.microsoft.com/office/drawing/2014/main" id="{050E0672-5489-48D4-AB36-66B83CC45C74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5AB43827-FF9C-4DD3-8A97-AB27C6E42CDC}"/>
              </a:ext>
            </a:extLst>
          </p:cNvPr>
          <p:cNvSpPr txBox="1"/>
          <p:nvPr/>
        </p:nvSpPr>
        <p:spPr>
          <a:xfrm>
            <a:off x="11577197" y="5261592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F9C9239C-4423-4333-9A89-0170DDD84B84}"/>
              </a:ext>
            </a:extLst>
          </p:cNvPr>
          <p:cNvSpPr txBox="1"/>
          <p:nvPr/>
        </p:nvSpPr>
        <p:spPr>
          <a:xfrm>
            <a:off x="11588684" y="5499036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44" name="Obdélník 43">
            <a:extLst>
              <a:ext uri="{FF2B5EF4-FFF2-40B4-BE49-F238E27FC236}">
                <a16:creationId xmlns:a16="http://schemas.microsoft.com/office/drawing/2014/main" id="{3B689D34-4787-4762-B42F-E8ADBC63BDDD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19A92EDA-D8C3-4EB1-9758-7B12561BC979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. 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ve dnech 25. 11. až 2. 12.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CD5909B-19B4-4D3D-B27B-037FC11A1EC3}"/>
              </a:ext>
            </a:extLst>
          </p:cNvPr>
          <p:cNvSpPr txBox="1"/>
          <p:nvPr/>
        </p:nvSpPr>
        <p:spPr>
          <a:xfrm>
            <a:off x="8509903" y="1014680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1 963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1 450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760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539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D0A3E65-CC3F-40D5-96F9-29B1A68CBDE4}"/>
              </a:ext>
            </a:extLst>
          </p:cNvPr>
          <p:cNvSpPr txBox="1"/>
          <p:nvPr/>
        </p:nvSpPr>
        <p:spPr>
          <a:xfrm>
            <a:off x="7995821" y="649430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AE7C14D6-948B-4998-9BAD-83A59AB49E84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cxnSp>
        <p:nvCxnSpPr>
          <p:cNvPr id="27" name="Přímá spojnice 26">
            <a:extLst>
              <a:ext uri="{FF2B5EF4-FFF2-40B4-BE49-F238E27FC236}">
                <a16:creationId xmlns:a16="http://schemas.microsoft.com/office/drawing/2014/main" id="{151915F4-A428-45BF-84A1-ADF7F4BD32C8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01DB9BF5-A049-45EF-B74F-4FFD18405073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05</a:t>
            </a:r>
          </a:p>
        </p:txBody>
      </p:sp>
      <p:cxnSp>
        <p:nvCxnSpPr>
          <p:cNvPr id="29" name="Přímá spojnice 28">
            <a:extLst>
              <a:ext uri="{FF2B5EF4-FFF2-40B4-BE49-F238E27FC236}">
                <a16:creationId xmlns:a16="http://schemas.microsoft.com/office/drawing/2014/main" id="{FA6D3485-F496-4CF5-B837-D20010EAEA63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Přímá spojnice 29">
            <a:extLst>
              <a:ext uri="{FF2B5EF4-FFF2-40B4-BE49-F238E27FC236}">
                <a16:creationId xmlns:a16="http://schemas.microsoft.com/office/drawing/2014/main" id="{168E9D75-247A-431C-BB94-E95A8C5AE415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E38F2C9F-B0DE-4408-AADB-ED35FE1A0B50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3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117CD874-6AAF-4BF4-A24A-D18EC77483D9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35" name="Přímá spojnice 34">
            <a:extLst>
              <a:ext uri="{FF2B5EF4-FFF2-40B4-BE49-F238E27FC236}">
                <a16:creationId xmlns:a16="http://schemas.microsoft.com/office/drawing/2014/main" id="{D142C6BF-C979-46AA-B448-9235A2DED957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47772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Středoče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8B4ECA94-5826-42D2-BAD1-DE3B69CA8FD8}"/>
              </a:ext>
            </a:extLst>
          </p:cNvPr>
          <p:cNvGrpSpPr/>
          <p:nvPr/>
        </p:nvGrpSpPr>
        <p:grpSpPr>
          <a:xfrm>
            <a:off x="10773218" y="654984"/>
            <a:ext cx="1327377" cy="214078"/>
            <a:chOff x="12334307" y="6375531"/>
            <a:chExt cx="2716628" cy="438135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7C780A69-D94E-47FF-B50A-DD9CA90BEC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34307" y="6375531"/>
              <a:ext cx="338328" cy="438135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604E2B7F-2EC1-48AD-8E63-E2935E48829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07607" y="6385202"/>
              <a:ext cx="2243328" cy="396240"/>
            </a:xfrm>
            <a:prstGeom prst="rect">
              <a:avLst/>
            </a:prstGeom>
          </p:spPr>
        </p:pic>
      </p:grpSp>
      <p:graphicFrame>
        <p:nvGraphicFramePr>
          <p:cNvPr id="25" name="Chart 4">
            <a:extLst>
              <a:ext uri="{FF2B5EF4-FFF2-40B4-BE49-F238E27FC236}">
                <a16:creationId xmlns:a16="http://schemas.microsoft.com/office/drawing/2014/main" id="{EEAC62B5-FA3A-47C2-B02B-5B0DC11045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74924795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Obdélník 55">
            <a:extLst>
              <a:ext uri="{FF2B5EF4-FFF2-40B4-BE49-F238E27FC236}">
                <a16:creationId xmlns:a16="http://schemas.microsoft.com/office/drawing/2014/main" id="{04103511-5558-4CD1-B3AE-769C491AEAE0}"/>
              </a:ext>
            </a:extLst>
          </p:cNvPr>
          <p:cNvSpPr/>
          <p:nvPr/>
        </p:nvSpPr>
        <p:spPr>
          <a:xfrm>
            <a:off x="1553586" y="369531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Box 6">
            <a:extLst>
              <a:ext uri="{FF2B5EF4-FFF2-40B4-BE49-F238E27FC236}">
                <a16:creationId xmlns:a16="http://schemas.microsoft.com/office/drawing/2014/main" id="{00BED0B6-58C6-4103-9B7C-58EA8A727E1D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64135F67-FBB1-48A0-B94E-BDF61413180B}"/>
              </a:ext>
            </a:extLst>
          </p:cNvPr>
          <p:cNvSpPr txBox="1"/>
          <p:nvPr/>
        </p:nvSpPr>
        <p:spPr>
          <a:xfrm>
            <a:off x="10403463" y="2358704"/>
            <a:ext cx="1508026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4 820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3 472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 727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 189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BF8A33C7-CE1C-4860-B891-BC3CCBA503A5}"/>
              </a:ext>
            </a:extLst>
          </p:cNvPr>
          <p:cNvSpPr txBox="1"/>
          <p:nvPr/>
        </p:nvSpPr>
        <p:spPr>
          <a:xfrm>
            <a:off x="1866364" y="3589933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9BE78429-E6E9-4C2B-8D1D-09908D494DF1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dnech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5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až </a:t>
            </a:r>
            <a:r>
              <a:rPr lang="cs-CZ" sz="900" b="1" dirty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3706C995-1B9E-4388-AAC8-D5E6CC4A0F01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5361B5DE-4DE7-4D79-AE2F-5FABC2AAB76B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rychlení, R = 1,10</a:t>
            </a: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8B4B9E55-88D7-4C22-A02C-459367860EE8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zpomalení, R = 0,90</a:t>
            </a:r>
          </a:p>
        </p:txBody>
      </p:sp>
      <p:cxnSp>
        <p:nvCxnSpPr>
          <p:cNvPr id="48" name="Přímá spojnice se šipkou 47">
            <a:extLst>
              <a:ext uri="{FF2B5EF4-FFF2-40B4-BE49-F238E27FC236}">
                <a16:creationId xmlns:a16="http://schemas.microsoft.com/office/drawing/2014/main" id="{383956A4-13B2-47B0-AAEC-838723A30F5B}"/>
              </a:ext>
            </a:extLst>
          </p:cNvPr>
          <p:cNvCxnSpPr>
            <a:cxnSpLocks/>
            <a:stCxn id="29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9" name="Přímá spojnice se šipkou 48">
            <a:extLst>
              <a:ext uri="{FF2B5EF4-FFF2-40B4-BE49-F238E27FC236}">
                <a16:creationId xmlns:a16="http://schemas.microsoft.com/office/drawing/2014/main" id="{54D7EDBC-576E-4AEB-B556-9D251EA1BA46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7A51E6E7-C20D-4C2F-ACC0-33927FDCDA3E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</p:txBody>
      </p:sp>
      <p:cxnSp>
        <p:nvCxnSpPr>
          <p:cNvPr id="54" name="Přímá spojnice 53">
            <a:extLst>
              <a:ext uri="{FF2B5EF4-FFF2-40B4-BE49-F238E27FC236}">
                <a16:creationId xmlns:a16="http://schemas.microsoft.com/office/drawing/2014/main" id="{BD4AFFB2-2DBF-40EE-BFEA-26E7B730C2FF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883BE156-01CB-4C6F-8954-93BA6693C6AB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05</a:t>
            </a:r>
          </a:p>
        </p:txBody>
      </p:sp>
      <p:cxnSp>
        <p:nvCxnSpPr>
          <p:cNvPr id="57" name="Přímá spojnice 56">
            <a:extLst>
              <a:ext uri="{FF2B5EF4-FFF2-40B4-BE49-F238E27FC236}">
                <a16:creationId xmlns:a16="http://schemas.microsoft.com/office/drawing/2014/main" id="{D99ECD1E-6674-4EAD-B7CC-B896970877A8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6DCD2B6E-FA74-4A43-8FDB-8C10A5E03E80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09E53EC4-90FB-48A8-A422-E620CBC912C1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3. 12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2795E1A2-6934-4DA1-A4EA-A58E47124FFD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0,95</a:t>
            </a:r>
          </a:p>
        </p:txBody>
      </p: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D3CD4F5E-C4F8-4FB7-A5D4-D29C7DD7E30E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4133348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Středoče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B6F0B769-9E18-45F0-89C4-8D22EE771EAC}"/>
              </a:ext>
            </a:extLst>
          </p:cNvPr>
          <p:cNvGrpSpPr/>
          <p:nvPr/>
        </p:nvGrpSpPr>
        <p:grpSpPr>
          <a:xfrm>
            <a:off x="10773218" y="654984"/>
            <a:ext cx="1327377" cy="214078"/>
            <a:chOff x="12334307" y="6375531"/>
            <a:chExt cx="2716628" cy="438135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DD960978-7BB1-42CA-95DD-3FE1D770A6C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34307" y="6375531"/>
              <a:ext cx="338328" cy="438135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FB1A8ED9-4024-42AE-9EED-709A4416F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07607" y="6385202"/>
              <a:ext cx="2243328" cy="396240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182AE65E-DEFC-4B4F-B1D6-B8C73D044C4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30930262"/>
              </p:ext>
            </p:extLst>
          </p:nvPr>
        </p:nvGraphicFramePr>
        <p:xfrm>
          <a:off x="219185" y="965405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8" name="TextBox 6">
            <a:extLst>
              <a:ext uri="{FF2B5EF4-FFF2-40B4-BE49-F238E27FC236}">
                <a16:creationId xmlns:a16="http://schemas.microsoft.com/office/drawing/2014/main" id="{291016E3-02E0-4576-A49D-8B2C2D43F645}"/>
              </a:ext>
            </a:extLst>
          </p:cNvPr>
          <p:cNvSpPr txBox="1"/>
          <p:nvPr/>
        </p:nvSpPr>
        <p:spPr>
          <a:xfrm rot="16200000">
            <a:off x="-1607554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8CD9D82F-3ADE-4042-8152-26547273AE19}"/>
              </a:ext>
            </a:extLst>
          </p:cNvPr>
          <p:cNvSpPr txBox="1"/>
          <p:nvPr/>
        </p:nvSpPr>
        <p:spPr>
          <a:xfrm>
            <a:off x="11271281" y="534972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1822E960-B842-490F-92DB-3DB1680B62BE}"/>
              </a:ext>
            </a:extLst>
          </p:cNvPr>
          <p:cNvSpPr txBox="1"/>
          <p:nvPr/>
        </p:nvSpPr>
        <p:spPr>
          <a:xfrm>
            <a:off x="11271282" y="559532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C6ECFA6D-5AA7-4697-8EB7-F624FA0D4A95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. 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celorepublikového modelu byla lokalizovaná do příslušného kraje se zohledněním trendu nárůstu ve dnech 25. 11. až 2. 12.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5C0F9816-D6E4-48CF-BDB8-075E507D5301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Obdélník 42">
            <a:extLst>
              <a:ext uri="{FF2B5EF4-FFF2-40B4-BE49-F238E27FC236}">
                <a16:creationId xmlns:a16="http://schemas.microsoft.com/office/drawing/2014/main" id="{61267C3D-5B86-4DDF-B70A-2853CEF96CA1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942CD241-839A-4643-823E-5EB7793121F9}"/>
              </a:ext>
            </a:extLst>
          </p:cNvPr>
          <p:cNvSpPr txBox="1"/>
          <p:nvPr/>
        </p:nvSpPr>
        <p:spPr>
          <a:xfrm>
            <a:off x="8281114" y="1041785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 1. 2022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1 994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1 47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77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547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37F9CA9A-FDCA-433B-B9C5-654EF11564F4}"/>
              </a:ext>
            </a:extLst>
          </p:cNvPr>
          <p:cNvSpPr txBox="1"/>
          <p:nvPr/>
        </p:nvSpPr>
        <p:spPr>
          <a:xfrm>
            <a:off x="7767032" y="688137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D579EB7C-81E9-4F6F-A3A5-5DA3CAA60CD1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cxnSp>
        <p:nvCxnSpPr>
          <p:cNvPr id="24" name="Přímá spojnice 23">
            <a:extLst>
              <a:ext uri="{FF2B5EF4-FFF2-40B4-BE49-F238E27FC236}">
                <a16:creationId xmlns:a16="http://schemas.microsoft.com/office/drawing/2014/main" id="{64623AA7-2C76-4BD1-8748-22DF326252CB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5A37FB87-E78E-4849-A03B-BE52B833707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05</a:t>
            </a:r>
          </a:p>
        </p:txBody>
      </p:sp>
      <p:cxnSp>
        <p:nvCxnSpPr>
          <p:cNvPr id="29" name="Přímá spojnice 28">
            <a:extLst>
              <a:ext uri="{FF2B5EF4-FFF2-40B4-BE49-F238E27FC236}">
                <a16:creationId xmlns:a16="http://schemas.microsoft.com/office/drawing/2014/main" id="{72A536F1-4CA2-4F5F-AB76-FFC4ACF8C050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Přímá spojnice 29">
            <a:extLst>
              <a:ext uri="{FF2B5EF4-FFF2-40B4-BE49-F238E27FC236}">
                <a16:creationId xmlns:a16="http://schemas.microsoft.com/office/drawing/2014/main" id="{380CA7A3-0214-4D60-8635-7E5242EDB300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8AFE1B0A-42E4-4C02-8578-394DBD603AAD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3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F695B351-FD13-4A97-BF29-CD391278AF7F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36" name="Přímá spojnice 35">
            <a:extLst>
              <a:ext uri="{FF2B5EF4-FFF2-40B4-BE49-F238E27FC236}">
                <a16:creationId xmlns:a16="http://schemas.microsoft.com/office/drawing/2014/main" id="{89022546-7C10-44E2-82CC-E2A3104328D1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37520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832</TotalTime>
  <Words>4547</Words>
  <Application>Microsoft Office PowerPoint</Application>
  <PresentationFormat>Širokoúhlá obrazovka</PresentationFormat>
  <Paragraphs>574</Paragraphs>
  <Slides>33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33</vt:i4>
      </vt:variant>
    </vt:vector>
  </HeadingPairs>
  <TitlesOfParts>
    <vt:vector size="40" baseType="lpstr">
      <vt:lpstr>Arial</vt:lpstr>
      <vt:lpstr>Calibri</vt:lpstr>
      <vt:lpstr>Calibri Light</vt:lpstr>
      <vt:lpstr>Motiv Office</vt:lpstr>
      <vt:lpstr>1_Motiv systému Office</vt:lpstr>
      <vt:lpstr>1_Motiv Office</vt:lpstr>
      <vt:lpstr>2_Motiv Office</vt:lpstr>
      <vt:lpstr>Stav a vývoj epidemie COVID-19  v dostupných datech</vt:lpstr>
      <vt:lpstr>Projekce krátkodobých modelů SIR  pro vývoj epidemie v prosinci</vt:lpstr>
      <vt:lpstr>Krátkodobá projekce modelů SIR dle hodnoty efektivního reprodukčního čísla</vt:lpstr>
      <vt:lpstr>7denní hodnoty na 100 tisíc obyvatel: krátkodobá projekce vývoje </vt:lpstr>
      <vt:lpstr>Stav a vývoj epidemie COVID-19  v dostupných datech</vt:lpstr>
      <vt:lpstr>Predikce ve čtyřech scénářích: Praha</vt:lpstr>
      <vt:lpstr>Modelové scénáře: 7denní hodnoty na 100 tisíc obyvatel: Praha</vt:lpstr>
      <vt:lpstr>Predikce ve čtyřech scénářích: Středočeský kraj</vt:lpstr>
      <vt:lpstr>Modelové scénáře: 7denní hodnoty na 100 tisíc obyvatel: Středočeský kraj</vt:lpstr>
      <vt:lpstr>Predikce ve čtyřech scénářích: Jihočeský kraj</vt:lpstr>
      <vt:lpstr>Modelové scénáře: 7denní hodnoty na 100 tisíc obyvatel: Jihočeský kraj</vt:lpstr>
      <vt:lpstr>Predikce ve čtyřech scénářích: Plzeňský kraj</vt:lpstr>
      <vt:lpstr>Modelové scénáře: 7denní hodnoty na 100 tisíc obyvatel: Plzeňský kraj</vt:lpstr>
      <vt:lpstr>Predikce ve čtyřech scénářích: Karlovarský kraj</vt:lpstr>
      <vt:lpstr>Modelové scénáře: 7denní hodnoty na 100 tisíc obyvatel: Karlovarský kraj</vt:lpstr>
      <vt:lpstr>Predikce ve čtyřech scénářích: Ústecký kraj</vt:lpstr>
      <vt:lpstr>Modelové scénáře: 7denní hodnoty na 100 tisíc obyvatel: Ústecký kraj</vt:lpstr>
      <vt:lpstr>Predikce ve čtyřech scénářích: Liberecký kraj</vt:lpstr>
      <vt:lpstr>Modelové scénáře: 7denní hodnoty na 100 tisíc obyvatel: Liberecký kraj</vt:lpstr>
      <vt:lpstr>Predikce ve čtyřech scénářích: Královehradecký kraj</vt:lpstr>
      <vt:lpstr>Modelové scénáře: 7denní hodnoty na 100 tisíc obyvatel: Královehradecký kraj</vt:lpstr>
      <vt:lpstr>Predikce ve čtyřech scénářích: Pardubický kraj</vt:lpstr>
      <vt:lpstr>Modelové scénáře: 7denní hodnoty na 100 tisíc obyvatel: Pardubický kraj</vt:lpstr>
      <vt:lpstr>Predikce ve čtyřech scénářích: Kraj Vysočina</vt:lpstr>
      <vt:lpstr>Modelové scénáře: 7denní hodnoty na 100 tisíc obyvatel: Kraj Vysočina</vt:lpstr>
      <vt:lpstr>Predikce ve čtyřech scénářích: Jihomoravský kraj</vt:lpstr>
      <vt:lpstr>Modelové scénáře: 7denní hodnoty na 100 tisíc obyvatel: Jihomoravský kraj</vt:lpstr>
      <vt:lpstr>Predikce ve čtyřech scénářích: Olomoucký kraj</vt:lpstr>
      <vt:lpstr>Modelové scénáře: 7denní hodnoty na 100 tisíc obyvatel: Olomoucký kraj</vt:lpstr>
      <vt:lpstr>Predikce ve čtyřech scénářích: Zlínský kraj</vt:lpstr>
      <vt:lpstr>Modelové scénáře: 7denní hodnoty na 100 tisíc obyvatel: Zlínský kraj</vt:lpstr>
      <vt:lpstr>Predikce ve čtyřech scénářích: Moravskoslezský kraj</vt:lpstr>
      <vt:lpstr>Modelové scénáře: 7denní hodnoty na 100 tisíc obyvatel: Moravskoslezský kraj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Dušek Ladislav prof. RNDr. Ph.D.</cp:lastModifiedBy>
  <cp:revision>2311</cp:revision>
  <dcterms:created xsi:type="dcterms:W3CDTF">2020-03-16T10:06:11Z</dcterms:created>
  <dcterms:modified xsi:type="dcterms:W3CDTF">2021-12-08T18:04:44Z</dcterms:modified>
</cp:coreProperties>
</file>